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96" r:id="rId4"/>
  </p:sldMasterIdLst>
  <p:notesMasterIdLst>
    <p:notesMasterId r:id="rId29"/>
  </p:notesMasterIdLst>
  <p:handoutMasterIdLst>
    <p:handoutMasterId r:id="rId30"/>
  </p:handoutMasterIdLst>
  <p:sldIdLst>
    <p:sldId id="740" r:id="rId5"/>
    <p:sldId id="894" r:id="rId6"/>
    <p:sldId id="895" r:id="rId7"/>
    <p:sldId id="897" r:id="rId8"/>
    <p:sldId id="898" r:id="rId9"/>
    <p:sldId id="899" r:id="rId10"/>
    <p:sldId id="900" r:id="rId11"/>
    <p:sldId id="902" r:id="rId12"/>
    <p:sldId id="903" r:id="rId13"/>
    <p:sldId id="904" r:id="rId14"/>
    <p:sldId id="905" r:id="rId15"/>
    <p:sldId id="906" r:id="rId16"/>
    <p:sldId id="907" r:id="rId17"/>
    <p:sldId id="908" r:id="rId18"/>
    <p:sldId id="909" r:id="rId19"/>
    <p:sldId id="910" r:id="rId20"/>
    <p:sldId id="911" r:id="rId21"/>
    <p:sldId id="912" r:id="rId22"/>
    <p:sldId id="913" r:id="rId23"/>
    <p:sldId id="914" r:id="rId24"/>
    <p:sldId id="915" r:id="rId25"/>
    <p:sldId id="916" r:id="rId26"/>
    <p:sldId id="917" r:id="rId27"/>
    <p:sldId id="896" r:id="rId28"/>
  </p:sldIdLst>
  <p:sldSz cx="9144000" cy="5143500" type="screen16x9"/>
  <p:notesSz cx="7010400" cy="9296400"/>
  <p:custDataLst>
    <p:tags r:id="rId31"/>
  </p:custDataLst>
  <p:defaultTextStyle>
    <a:defPPr>
      <a:defRPr lang="en-US"/>
    </a:defPPr>
    <a:lvl1pPr marL="0" algn="l" defTabSz="33773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337734" algn="l" defTabSz="33773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675467" algn="l" defTabSz="33773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013201" algn="l" defTabSz="33773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350935" algn="l" defTabSz="33773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1688668" algn="l" defTabSz="33773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026402" algn="l" defTabSz="33773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2364135" algn="l" defTabSz="33773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2701869" algn="l" defTabSz="33773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A9A7165-BFE2-B64B-B43D-0753DB19ED61}">
          <p14:sldIdLst>
            <p14:sldId id="740"/>
            <p14:sldId id="894"/>
            <p14:sldId id="895"/>
            <p14:sldId id="897"/>
            <p14:sldId id="898"/>
            <p14:sldId id="899"/>
            <p14:sldId id="900"/>
            <p14:sldId id="902"/>
            <p14:sldId id="903"/>
            <p14:sldId id="904"/>
            <p14:sldId id="905"/>
            <p14:sldId id="906"/>
            <p14:sldId id="907"/>
            <p14:sldId id="908"/>
            <p14:sldId id="909"/>
            <p14:sldId id="910"/>
            <p14:sldId id="911"/>
            <p14:sldId id="912"/>
            <p14:sldId id="913"/>
            <p14:sldId id="914"/>
            <p14:sldId id="915"/>
            <p14:sldId id="916"/>
            <p14:sldId id="917"/>
            <p14:sldId id="89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778">
          <p15:clr>
            <a:srgbClr val="A4A3A4"/>
          </p15:clr>
        </p15:guide>
        <p15:guide id="2" orient="horz" pos="1321">
          <p15:clr>
            <a:srgbClr val="A4A3A4"/>
          </p15:clr>
        </p15:guide>
        <p15:guide id="3" orient="horz" pos="1937">
          <p15:clr>
            <a:srgbClr val="A4A3A4"/>
          </p15:clr>
        </p15:guide>
        <p15:guide id="4" orient="horz" pos="579">
          <p15:clr>
            <a:srgbClr val="A4A3A4"/>
          </p15:clr>
        </p15:guide>
        <p15:guide id="5" orient="horz" pos="173">
          <p15:clr>
            <a:srgbClr val="A4A3A4"/>
          </p15:clr>
        </p15:guide>
        <p15:guide id="6" orient="horz" pos="2997">
          <p15:clr>
            <a:srgbClr val="A4A3A4"/>
          </p15:clr>
        </p15:guide>
        <p15:guide id="7" orient="horz" pos="2889">
          <p15:clr>
            <a:srgbClr val="A4A3A4"/>
          </p15:clr>
        </p15:guide>
        <p15:guide id="8" pos="3540">
          <p15:clr>
            <a:srgbClr val="A4A3A4"/>
          </p15:clr>
        </p15:guide>
        <p15:guide id="9" pos="2874">
          <p15:clr>
            <a:srgbClr val="A4A3A4"/>
          </p15:clr>
        </p15:guide>
        <p15:guide id="10" pos="5562">
          <p15:clr>
            <a:srgbClr val="A4A3A4"/>
          </p15:clr>
        </p15:guide>
        <p15:guide id="11" pos="71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rry Radice" initials="LR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610D"/>
    <a:srgbClr val="3F59A7"/>
    <a:srgbClr val="51A3DB"/>
    <a:srgbClr val="26A274"/>
    <a:srgbClr val="48DAD0"/>
    <a:srgbClr val="00B97C"/>
    <a:srgbClr val="C47A23"/>
    <a:srgbClr val="3F58A7"/>
    <a:srgbClr val="383C45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9"/>
    <p:restoredTop sz="94704"/>
  </p:normalViewPr>
  <p:slideViewPr>
    <p:cSldViewPr snapToGrid="0">
      <p:cViewPr varScale="1">
        <p:scale>
          <a:sx n="108" d="100"/>
          <a:sy n="108" d="100"/>
        </p:scale>
        <p:origin x="792" y="82"/>
      </p:cViewPr>
      <p:guideLst>
        <p:guide orient="horz" pos="2778"/>
        <p:guide orient="horz" pos="1321"/>
        <p:guide orient="horz" pos="1937"/>
        <p:guide orient="horz" pos="579"/>
        <p:guide orient="horz" pos="173"/>
        <p:guide orient="horz" pos="2997"/>
        <p:guide orient="horz" pos="2889"/>
        <p:guide pos="3540"/>
        <p:guide pos="2874"/>
        <p:guide pos="5562"/>
        <p:guide pos="71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68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200"/>
            </a:lvl1pPr>
          </a:lstStyle>
          <a:p>
            <a:endParaRPr lang="en-US">
              <a:latin typeface="Nokia Pure Headline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200"/>
            </a:lvl1pPr>
          </a:lstStyle>
          <a:p>
            <a:fld id="{7C50A9A2-E6FE-3C47-866F-17FEC8E2FCF2}" type="datetimeFigureOut">
              <a:rPr lang="en-US" smtClean="0">
                <a:latin typeface="Nokia Pure Headline"/>
              </a:rPr>
              <a:pPr/>
              <a:t>6/22/2018</a:t>
            </a:fld>
            <a:endParaRPr lang="en-US">
              <a:latin typeface="Nokia Pure Headline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200"/>
            </a:lvl1pPr>
          </a:lstStyle>
          <a:p>
            <a:endParaRPr lang="en-US">
              <a:latin typeface="Nokia Pure Headline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200"/>
            </a:lvl1pPr>
          </a:lstStyle>
          <a:p>
            <a:fld id="{661795DC-986A-084E-8061-2C684FEE7CB6}" type="slidenum">
              <a:rPr lang="en-US" smtClean="0">
                <a:latin typeface="Nokia Pure Headline"/>
              </a:rPr>
              <a:pPr/>
              <a:t>‹#›</a:t>
            </a:fld>
            <a:endParaRPr lang="en-US">
              <a:latin typeface="Nokia Pure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26228954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200">
                <a:latin typeface="Nokia Pure Headline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200">
                <a:latin typeface="Nokia Pure Headline"/>
              </a:defRPr>
            </a:lvl1pPr>
          </a:lstStyle>
          <a:p>
            <a:fld id="{0349D960-1D3C-0940-9179-60ED3833C2EF}" type="datetimeFigureOut">
              <a:rPr lang="en-US" smtClean="0"/>
              <a:pPr/>
              <a:t>6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8500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200">
                <a:latin typeface="Nokia Pure Headlin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200">
                <a:latin typeface="Nokia Pure Headline"/>
              </a:defRPr>
            </a:lvl1pPr>
          </a:lstStyle>
          <a:p>
            <a:fld id="{72C5AD4D-AD1B-3049-B336-8166FED753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3410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37734" rtl="0" eaLnBrk="1" latinLnBrk="0" hangingPunct="1">
      <a:defRPr sz="900" kern="1200">
        <a:solidFill>
          <a:schemeClr val="tx1"/>
        </a:solidFill>
        <a:latin typeface="Nokia Pure Headline"/>
        <a:ea typeface="+mn-ea"/>
        <a:cs typeface="+mn-cs"/>
      </a:defRPr>
    </a:lvl1pPr>
    <a:lvl2pPr marL="337734" algn="l" defTabSz="337734" rtl="0" eaLnBrk="1" latinLnBrk="0" hangingPunct="1">
      <a:defRPr sz="900" kern="1200">
        <a:solidFill>
          <a:schemeClr val="tx1"/>
        </a:solidFill>
        <a:latin typeface="Nokia Pure Headline"/>
        <a:ea typeface="+mn-ea"/>
        <a:cs typeface="+mn-cs"/>
      </a:defRPr>
    </a:lvl2pPr>
    <a:lvl3pPr marL="675467" algn="l" defTabSz="337734" rtl="0" eaLnBrk="1" latinLnBrk="0" hangingPunct="1">
      <a:defRPr sz="900" kern="1200">
        <a:solidFill>
          <a:schemeClr val="tx1"/>
        </a:solidFill>
        <a:latin typeface="Nokia Pure Headline"/>
        <a:ea typeface="+mn-ea"/>
        <a:cs typeface="+mn-cs"/>
      </a:defRPr>
    </a:lvl3pPr>
    <a:lvl4pPr marL="1013201" algn="l" defTabSz="337734" rtl="0" eaLnBrk="1" latinLnBrk="0" hangingPunct="1">
      <a:defRPr sz="900" kern="1200">
        <a:solidFill>
          <a:schemeClr val="tx1"/>
        </a:solidFill>
        <a:latin typeface="Nokia Pure Headline"/>
        <a:ea typeface="+mn-ea"/>
        <a:cs typeface="+mn-cs"/>
      </a:defRPr>
    </a:lvl4pPr>
    <a:lvl5pPr marL="1350935" algn="l" defTabSz="337734" rtl="0" eaLnBrk="1" latinLnBrk="0" hangingPunct="1">
      <a:defRPr sz="900" kern="1200">
        <a:solidFill>
          <a:schemeClr val="tx1"/>
        </a:solidFill>
        <a:latin typeface="Nokia Pure Headline"/>
        <a:ea typeface="+mn-ea"/>
        <a:cs typeface="+mn-cs"/>
      </a:defRPr>
    </a:lvl5pPr>
    <a:lvl6pPr marL="1688668" algn="l" defTabSz="33773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26402" algn="l" defTabSz="33773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64135" algn="l" defTabSz="33773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01869" algn="l" defTabSz="33773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C5AD4D-AD1B-3049-B336-8166FED7531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8681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5379872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7814578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0601124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9843107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38690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709655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7132662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1155877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4253198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606399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3084905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8445923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90950089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8905137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5297568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813863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300734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45298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0848214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105912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3045976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7309918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761047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33400" y="211735"/>
            <a:ext cx="8153400" cy="576000"/>
          </a:xfrm>
          <a:prstGeom prst="rect">
            <a:avLst/>
          </a:prstGeom>
        </p:spPr>
        <p:txBody>
          <a:bodyPr anchor="ctr"/>
          <a:lstStyle>
            <a:lvl1pPr>
              <a:defRPr sz="2000" b="0" baseline="0">
                <a:solidFill>
                  <a:schemeClr val="accent2"/>
                </a:solidFill>
                <a:latin typeface="+mj-lt"/>
                <a:ea typeface="Fira Sans Medium" panose="020B0603050000020004" pitchFamily="34" charset="0"/>
              </a:defRPr>
            </a:lvl1pPr>
          </a:lstStyle>
          <a:p>
            <a:r>
              <a:rPr lang="en-US" noProof="0"/>
              <a:t>Title / Subline (Optional)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525979" y="4635500"/>
            <a:ext cx="428170" cy="397639"/>
            <a:chOff x="1012825" y="-171450"/>
            <a:chExt cx="8281988" cy="7691438"/>
          </a:xfrm>
          <a:solidFill>
            <a:schemeClr val="bg2"/>
          </a:solidFill>
        </p:grpSpPr>
        <p:sp>
          <p:nvSpPr>
            <p:cNvPr id="12" name="Freeform 1"/>
            <p:cNvSpPr>
              <a:spLocks noChangeArrowheads="1"/>
            </p:cNvSpPr>
            <p:nvPr/>
          </p:nvSpPr>
          <p:spPr bwMode="auto">
            <a:xfrm>
              <a:off x="1012825" y="6380163"/>
              <a:ext cx="2289175" cy="1139825"/>
            </a:xfrm>
            <a:custGeom>
              <a:avLst/>
              <a:gdLst>
                <a:gd name="T0" fmla="*/ 6358 w 6359"/>
                <a:gd name="T1" fmla="*/ 0 h 3166"/>
                <a:gd name="T2" fmla="*/ 3193 w 6359"/>
                <a:gd name="T3" fmla="*/ 3165 h 3166"/>
                <a:gd name="T4" fmla="*/ 0 w 6359"/>
                <a:gd name="T5" fmla="*/ 0 h 3166"/>
                <a:gd name="T6" fmla="*/ 6358 w 6359"/>
                <a:gd name="T7" fmla="*/ 0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59" h="3166">
                  <a:moveTo>
                    <a:pt x="6358" y="0"/>
                  </a:moveTo>
                  <a:lnTo>
                    <a:pt x="3193" y="3165"/>
                  </a:lnTo>
                  <a:lnTo>
                    <a:pt x="0" y="0"/>
                  </a:lnTo>
                  <a:lnTo>
                    <a:pt x="6358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99"/>
            </a:p>
          </p:txBody>
        </p:sp>
        <p:sp>
          <p:nvSpPr>
            <p:cNvPr id="13" name="Freeform 2"/>
            <p:cNvSpPr>
              <a:spLocks noChangeArrowheads="1"/>
            </p:cNvSpPr>
            <p:nvPr/>
          </p:nvSpPr>
          <p:spPr bwMode="auto">
            <a:xfrm>
              <a:off x="1308100" y="-171450"/>
              <a:ext cx="7986713" cy="6551613"/>
            </a:xfrm>
            <a:custGeom>
              <a:avLst/>
              <a:gdLst>
                <a:gd name="T0" fmla="*/ 10174 w 22185"/>
                <a:gd name="T1" fmla="*/ 10993 h 18201"/>
                <a:gd name="T2" fmla="*/ 10174 w 22185"/>
                <a:gd name="T3" fmla="*/ 10993 h 18201"/>
                <a:gd name="T4" fmla="*/ 9948 w 22185"/>
                <a:gd name="T5" fmla="*/ 9383 h 18201"/>
                <a:gd name="T6" fmla="*/ 11530 w 22185"/>
                <a:gd name="T7" fmla="*/ 9637 h 18201"/>
                <a:gd name="T8" fmla="*/ 10174 w 22185"/>
                <a:gd name="T9" fmla="*/ 10993 h 18201"/>
                <a:gd name="T10" fmla="*/ 16956 w 22185"/>
                <a:gd name="T11" fmla="*/ 2374 h 18201"/>
                <a:gd name="T12" fmla="*/ 16956 w 22185"/>
                <a:gd name="T13" fmla="*/ 2374 h 18201"/>
                <a:gd name="T14" fmla="*/ 18511 w 22185"/>
                <a:gd name="T15" fmla="*/ 2657 h 18201"/>
                <a:gd name="T16" fmla="*/ 17182 w 22185"/>
                <a:gd name="T17" fmla="*/ 3985 h 18201"/>
                <a:gd name="T18" fmla="*/ 16956 w 22185"/>
                <a:gd name="T19" fmla="*/ 2374 h 18201"/>
                <a:gd name="T20" fmla="*/ 21054 w 22185"/>
                <a:gd name="T21" fmla="*/ 3758 h 18201"/>
                <a:gd name="T22" fmla="*/ 21054 w 22185"/>
                <a:gd name="T23" fmla="*/ 3758 h 18201"/>
                <a:gd name="T24" fmla="*/ 18256 w 22185"/>
                <a:gd name="T25" fmla="*/ 5059 h 18201"/>
                <a:gd name="T26" fmla="*/ 21082 w 22185"/>
                <a:gd name="T27" fmla="*/ 2205 h 18201"/>
                <a:gd name="T28" fmla="*/ 20488 w 22185"/>
                <a:gd name="T29" fmla="*/ 1554 h 18201"/>
                <a:gd name="T30" fmla="*/ 15882 w 22185"/>
                <a:gd name="T31" fmla="*/ 1356 h 18201"/>
                <a:gd name="T32" fmla="*/ 15006 w 22185"/>
                <a:gd name="T33" fmla="*/ 4268 h 18201"/>
                <a:gd name="T34" fmla="*/ 14102 w 22185"/>
                <a:gd name="T35" fmla="*/ 3250 h 18201"/>
                <a:gd name="T36" fmla="*/ 13565 w 22185"/>
                <a:gd name="T37" fmla="*/ 5822 h 18201"/>
                <a:gd name="T38" fmla="*/ 12547 w 22185"/>
                <a:gd name="T39" fmla="*/ 4974 h 18201"/>
                <a:gd name="T40" fmla="*/ 11191 w 22185"/>
                <a:gd name="T41" fmla="*/ 6303 h 18201"/>
                <a:gd name="T42" fmla="*/ 13027 w 22185"/>
                <a:gd name="T43" fmla="*/ 8139 h 18201"/>
                <a:gd name="T44" fmla="*/ 8874 w 22185"/>
                <a:gd name="T45" fmla="*/ 8365 h 18201"/>
                <a:gd name="T46" fmla="*/ 8620 w 22185"/>
                <a:gd name="T47" fmla="*/ 12547 h 18201"/>
                <a:gd name="T48" fmla="*/ 8422 w 22185"/>
                <a:gd name="T49" fmla="*/ 12349 h 18201"/>
                <a:gd name="T50" fmla="*/ 5030 w 22185"/>
                <a:gd name="T51" fmla="*/ 12208 h 18201"/>
                <a:gd name="T52" fmla="*/ 4296 w 22185"/>
                <a:gd name="T53" fmla="*/ 13989 h 18201"/>
                <a:gd name="T54" fmla="*/ 1498 w 22185"/>
                <a:gd name="T55" fmla="*/ 11191 h 18201"/>
                <a:gd name="T56" fmla="*/ 0 w 22185"/>
                <a:gd name="T57" fmla="*/ 12688 h 18201"/>
                <a:gd name="T58" fmla="*/ 5539 w 22185"/>
                <a:gd name="T59" fmla="*/ 18200 h 18201"/>
                <a:gd name="T60" fmla="*/ 8507 w 22185"/>
                <a:gd name="T61" fmla="*/ 18200 h 18201"/>
                <a:gd name="T62" fmla="*/ 6500 w 22185"/>
                <a:gd name="T63" fmla="*/ 16222 h 18201"/>
                <a:gd name="T64" fmla="*/ 5964 w 22185"/>
                <a:gd name="T65" fmla="*/ 14074 h 18201"/>
                <a:gd name="T66" fmla="*/ 8026 w 22185"/>
                <a:gd name="T67" fmla="*/ 14893 h 18201"/>
                <a:gd name="T68" fmla="*/ 9976 w 22185"/>
                <a:gd name="T69" fmla="*/ 16871 h 18201"/>
                <a:gd name="T70" fmla="*/ 11473 w 22185"/>
                <a:gd name="T71" fmla="*/ 15373 h 18201"/>
                <a:gd name="T72" fmla="*/ 9609 w 22185"/>
                <a:gd name="T73" fmla="*/ 13509 h 18201"/>
                <a:gd name="T74" fmla="*/ 13989 w 22185"/>
                <a:gd name="T75" fmla="*/ 13141 h 18201"/>
                <a:gd name="T76" fmla="*/ 14017 w 22185"/>
                <a:gd name="T77" fmla="*/ 13113 h 18201"/>
                <a:gd name="T78" fmla="*/ 14017 w 22185"/>
                <a:gd name="T79" fmla="*/ 13113 h 18201"/>
                <a:gd name="T80" fmla="*/ 15175 w 22185"/>
                <a:gd name="T81" fmla="*/ 11530 h 18201"/>
                <a:gd name="T82" fmla="*/ 14045 w 22185"/>
                <a:gd name="T83" fmla="*/ 10768 h 18201"/>
                <a:gd name="T84" fmla="*/ 11247 w 22185"/>
                <a:gd name="T85" fmla="*/ 12067 h 18201"/>
                <a:gd name="T86" fmla="*/ 14073 w 22185"/>
                <a:gd name="T87" fmla="*/ 9214 h 18201"/>
                <a:gd name="T88" fmla="*/ 15854 w 22185"/>
                <a:gd name="T89" fmla="*/ 10993 h 18201"/>
                <a:gd name="T90" fmla="*/ 17408 w 22185"/>
                <a:gd name="T91" fmla="*/ 9440 h 18201"/>
                <a:gd name="T92" fmla="*/ 15203 w 22185"/>
                <a:gd name="T93" fmla="*/ 7207 h 18201"/>
                <a:gd name="T94" fmla="*/ 15203 w 22185"/>
                <a:gd name="T95" fmla="*/ 4833 h 18201"/>
                <a:gd name="T96" fmla="*/ 16080 w 22185"/>
                <a:gd name="T97" fmla="*/ 6048 h 18201"/>
                <a:gd name="T98" fmla="*/ 20998 w 22185"/>
                <a:gd name="T99" fmla="*/ 6161 h 18201"/>
                <a:gd name="T100" fmla="*/ 21026 w 22185"/>
                <a:gd name="T101" fmla="*/ 6133 h 18201"/>
                <a:gd name="T102" fmla="*/ 21026 w 22185"/>
                <a:gd name="T103" fmla="*/ 6133 h 18201"/>
                <a:gd name="T104" fmla="*/ 22184 w 22185"/>
                <a:gd name="T105" fmla="*/ 4522 h 18201"/>
                <a:gd name="T106" fmla="*/ 21054 w 22185"/>
                <a:gd name="T107" fmla="*/ 3758 h 18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85" h="18201">
                  <a:moveTo>
                    <a:pt x="10174" y="10993"/>
                  </a:moveTo>
                  <a:lnTo>
                    <a:pt x="10174" y="10993"/>
                  </a:lnTo>
                  <a:cubicBezTo>
                    <a:pt x="9496" y="10231"/>
                    <a:pt x="9524" y="9807"/>
                    <a:pt x="9948" y="9383"/>
                  </a:cubicBezTo>
                  <a:cubicBezTo>
                    <a:pt x="10456" y="8875"/>
                    <a:pt x="10937" y="9101"/>
                    <a:pt x="11530" y="9637"/>
                  </a:cubicBezTo>
                  <a:lnTo>
                    <a:pt x="10174" y="10993"/>
                  </a:lnTo>
                  <a:close/>
                  <a:moveTo>
                    <a:pt x="16956" y="2374"/>
                  </a:moveTo>
                  <a:lnTo>
                    <a:pt x="16956" y="2374"/>
                  </a:lnTo>
                  <a:cubicBezTo>
                    <a:pt x="17464" y="1894"/>
                    <a:pt x="17945" y="2092"/>
                    <a:pt x="18511" y="2657"/>
                  </a:cubicBezTo>
                  <a:cubicBezTo>
                    <a:pt x="17182" y="3985"/>
                    <a:pt x="17182" y="3985"/>
                    <a:pt x="17182" y="3985"/>
                  </a:cubicBezTo>
                  <a:cubicBezTo>
                    <a:pt x="16504" y="3222"/>
                    <a:pt x="16532" y="2798"/>
                    <a:pt x="16956" y="2374"/>
                  </a:cubicBezTo>
                  <a:close/>
                  <a:moveTo>
                    <a:pt x="21054" y="3758"/>
                  </a:moveTo>
                  <a:lnTo>
                    <a:pt x="21054" y="3758"/>
                  </a:lnTo>
                  <a:cubicBezTo>
                    <a:pt x="20432" y="4692"/>
                    <a:pt x="19358" y="6189"/>
                    <a:pt x="18256" y="5059"/>
                  </a:cubicBezTo>
                  <a:cubicBezTo>
                    <a:pt x="21082" y="2205"/>
                    <a:pt x="21082" y="2205"/>
                    <a:pt x="21082" y="2205"/>
                  </a:cubicBezTo>
                  <a:cubicBezTo>
                    <a:pt x="20828" y="1922"/>
                    <a:pt x="20630" y="1696"/>
                    <a:pt x="20488" y="1554"/>
                  </a:cubicBezTo>
                  <a:cubicBezTo>
                    <a:pt x="18963" y="28"/>
                    <a:pt x="17238" y="0"/>
                    <a:pt x="15882" y="1356"/>
                  </a:cubicBezTo>
                  <a:cubicBezTo>
                    <a:pt x="14977" y="2261"/>
                    <a:pt x="14723" y="3278"/>
                    <a:pt x="15006" y="4268"/>
                  </a:cubicBezTo>
                  <a:cubicBezTo>
                    <a:pt x="14102" y="3250"/>
                    <a:pt x="14102" y="3250"/>
                    <a:pt x="14102" y="3250"/>
                  </a:cubicBezTo>
                  <a:cubicBezTo>
                    <a:pt x="13847" y="3391"/>
                    <a:pt x="12745" y="4353"/>
                    <a:pt x="13565" y="5822"/>
                  </a:cubicBezTo>
                  <a:cubicBezTo>
                    <a:pt x="12547" y="4974"/>
                    <a:pt x="12547" y="4974"/>
                    <a:pt x="12547" y="4974"/>
                  </a:cubicBezTo>
                  <a:cubicBezTo>
                    <a:pt x="11191" y="6303"/>
                    <a:pt x="11191" y="6303"/>
                    <a:pt x="11191" y="6303"/>
                  </a:cubicBezTo>
                  <a:cubicBezTo>
                    <a:pt x="13027" y="8139"/>
                    <a:pt x="13027" y="8139"/>
                    <a:pt x="13027" y="8139"/>
                  </a:cubicBezTo>
                  <a:cubicBezTo>
                    <a:pt x="11615" y="7037"/>
                    <a:pt x="10089" y="7122"/>
                    <a:pt x="8874" y="8365"/>
                  </a:cubicBezTo>
                  <a:cubicBezTo>
                    <a:pt x="7546" y="9666"/>
                    <a:pt x="7659" y="11248"/>
                    <a:pt x="8620" y="12547"/>
                  </a:cubicBezTo>
                  <a:cubicBezTo>
                    <a:pt x="8422" y="12349"/>
                    <a:pt x="8422" y="12349"/>
                    <a:pt x="8422" y="12349"/>
                  </a:cubicBezTo>
                  <a:cubicBezTo>
                    <a:pt x="7150" y="11050"/>
                    <a:pt x="5738" y="11502"/>
                    <a:pt x="5030" y="12208"/>
                  </a:cubicBezTo>
                  <a:cubicBezTo>
                    <a:pt x="4494" y="12745"/>
                    <a:pt x="4183" y="13480"/>
                    <a:pt x="4296" y="13989"/>
                  </a:cubicBezTo>
                  <a:cubicBezTo>
                    <a:pt x="1498" y="11191"/>
                    <a:pt x="1498" y="11191"/>
                    <a:pt x="1498" y="11191"/>
                  </a:cubicBezTo>
                  <a:cubicBezTo>
                    <a:pt x="0" y="12688"/>
                    <a:pt x="0" y="12688"/>
                    <a:pt x="0" y="12688"/>
                  </a:cubicBezTo>
                  <a:cubicBezTo>
                    <a:pt x="5539" y="18200"/>
                    <a:pt x="5539" y="18200"/>
                    <a:pt x="5539" y="18200"/>
                  </a:cubicBezTo>
                  <a:cubicBezTo>
                    <a:pt x="8507" y="18200"/>
                    <a:pt x="8507" y="18200"/>
                    <a:pt x="8507" y="18200"/>
                  </a:cubicBezTo>
                  <a:cubicBezTo>
                    <a:pt x="6500" y="16222"/>
                    <a:pt x="6500" y="16222"/>
                    <a:pt x="6500" y="16222"/>
                  </a:cubicBezTo>
                  <a:cubicBezTo>
                    <a:pt x="5454" y="15147"/>
                    <a:pt x="5454" y="14582"/>
                    <a:pt x="5964" y="14074"/>
                  </a:cubicBezTo>
                  <a:cubicBezTo>
                    <a:pt x="6444" y="13593"/>
                    <a:pt x="7009" y="13904"/>
                    <a:pt x="8026" y="14893"/>
                  </a:cubicBezTo>
                  <a:cubicBezTo>
                    <a:pt x="9976" y="16871"/>
                    <a:pt x="9976" y="16871"/>
                    <a:pt x="9976" y="16871"/>
                  </a:cubicBezTo>
                  <a:cubicBezTo>
                    <a:pt x="11473" y="15373"/>
                    <a:pt x="11473" y="15373"/>
                    <a:pt x="11473" y="15373"/>
                  </a:cubicBezTo>
                  <a:cubicBezTo>
                    <a:pt x="9609" y="13509"/>
                    <a:pt x="9609" y="13509"/>
                    <a:pt x="9609" y="13509"/>
                  </a:cubicBezTo>
                  <a:cubicBezTo>
                    <a:pt x="10937" y="14526"/>
                    <a:pt x="12547" y="14582"/>
                    <a:pt x="13989" y="13141"/>
                  </a:cubicBezTo>
                  <a:cubicBezTo>
                    <a:pt x="14017" y="13141"/>
                    <a:pt x="14017" y="13141"/>
                    <a:pt x="14017" y="13113"/>
                  </a:cubicBezTo>
                  <a:lnTo>
                    <a:pt x="14017" y="13113"/>
                  </a:lnTo>
                  <a:cubicBezTo>
                    <a:pt x="14921" y="12321"/>
                    <a:pt x="15175" y="11530"/>
                    <a:pt x="15175" y="11530"/>
                  </a:cubicBezTo>
                  <a:cubicBezTo>
                    <a:pt x="14045" y="10768"/>
                    <a:pt x="14045" y="10768"/>
                    <a:pt x="14045" y="10768"/>
                  </a:cubicBezTo>
                  <a:cubicBezTo>
                    <a:pt x="13424" y="11700"/>
                    <a:pt x="12349" y="13198"/>
                    <a:pt x="11247" y="12067"/>
                  </a:cubicBezTo>
                  <a:cubicBezTo>
                    <a:pt x="14073" y="9214"/>
                    <a:pt x="14073" y="9214"/>
                    <a:pt x="14073" y="9214"/>
                  </a:cubicBezTo>
                  <a:cubicBezTo>
                    <a:pt x="15854" y="10993"/>
                    <a:pt x="15854" y="10993"/>
                    <a:pt x="15854" y="10993"/>
                  </a:cubicBezTo>
                  <a:cubicBezTo>
                    <a:pt x="17408" y="9440"/>
                    <a:pt x="17408" y="9440"/>
                    <a:pt x="17408" y="9440"/>
                  </a:cubicBezTo>
                  <a:cubicBezTo>
                    <a:pt x="15203" y="7207"/>
                    <a:pt x="15203" y="7207"/>
                    <a:pt x="15203" y="7207"/>
                  </a:cubicBezTo>
                  <a:cubicBezTo>
                    <a:pt x="14158" y="6161"/>
                    <a:pt x="14780" y="5200"/>
                    <a:pt x="15203" y="4833"/>
                  </a:cubicBezTo>
                  <a:cubicBezTo>
                    <a:pt x="15401" y="5257"/>
                    <a:pt x="15712" y="5680"/>
                    <a:pt x="16080" y="6048"/>
                  </a:cubicBezTo>
                  <a:cubicBezTo>
                    <a:pt x="17521" y="7489"/>
                    <a:pt x="19386" y="7772"/>
                    <a:pt x="20998" y="6161"/>
                  </a:cubicBezTo>
                  <a:cubicBezTo>
                    <a:pt x="21026" y="6133"/>
                    <a:pt x="21026" y="6133"/>
                    <a:pt x="21026" y="6133"/>
                  </a:cubicBezTo>
                  <a:lnTo>
                    <a:pt x="21026" y="6133"/>
                  </a:lnTo>
                  <a:cubicBezTo>
                    <a:pt x="21930" y="5313"/>
                    <a:pt x="22184" y="4522"/>
                    <a:pt x="22184" y="4522"/>
                  </a:cubicBezTo>
                  <a:lnTo>
                    <a:pt x="21054" y="3758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99"/>
            </a:p>
          </p:txBody>
        </p:sp>
      </p:grpSp>
    </p:spTree>
    <p:extLst>
      <p:ext uri="{BB962C8B-B14F-4D97-AF65-F5344CB8AC3E}">
        <p14:creationId xmlns:p14="http://schemas.microsoft.com/office/powerpoint/2010/main" val="501379064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Image (Aqu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HERE_PPT_TitleCharts_1920x1080_aqu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3" name="Picture 3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499742"/>
            <a:ext cx="8458199" cy="2658046"/>
          </a:xfrm>
          <a:prstGeom prst="rect">
            <a:avLst/>
          </a:prstGeom>
        </p:spPr>
      </p:pic>
      <p:pic>
        <p:nvPicPr>
          <p:cNvPr id="5" name="Bild 4" descr="aq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8682" y="-20538"/>
            <a:ext cx="4551830" cy="3240360"/>
          </a:xfrm>
          <a:prstGeom prst="rect">
            <a:avLst/>
          </a:prstGeom>
        </p:spPr>
      </p:pic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5925" y="3363838"/>
            <a:ext cx="3672408" cy="892480"/>
          </a:xfr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 spc="-2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tabLst/>
              <a:defRPr sz="22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tabLst/>
              <a:defRPr sz="22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20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20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20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Add title</a:t>
            </a:r>
            <a:br>
              <a:rPr lang="en-US" noProof="0"/>
            </a:br>
            <a:r>
              <a:rPr lang="en-US" noProof="0"/>
              <a:t>(2 lines maximum)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15925" y="4453674"/>
            <a:ext cx="5138217" cy="216434"/>
          </a:xfrm>
        </p:spPr>
        <p:txBody>
          <a:bodyPr lIns="0" tIns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Add name and surnam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5925" y="4684432"/>
            <a:ext cx="5138217" cy="216434"/>
          </a:xfrm>
        </p:spPr>
        <p:txBody>
          <a:bodyPr lIns="0" tIns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dd event name and date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7746613" y="298450"/>
            <a:ext cx="1005957" cy="934226"/>
            <a:chOff x="1012825" y="-171450"/>
            <a:chExt cx="8281988" cy="7691438"/>
          </a:xfrm>
          <a:solidFill>
            <a:srgbClr val="FFFFFF"/>
          </a:solidFill>
        </p:grpSpPr>
        <p:sp>
          <p:nvSpPr>
            <p:cNvPr id="12" name="Freeform 1"/>
            <p:cNvSpPr>
              <a:spLocks noChangeArrowheads="1"/>
            </p:cNvSpPr>
            <p:nvPr/>
          </p:nvSpPr>
          <p:spPr bwMode="auto">
            <a:xfrm>
              <a:off x="1012825" y="6380163"/>
              <a:ext cx="2289175" cy="1139825"/>
            </a:xfrm>
            <a:custGeom>
              <a:avLst/>
              <a:gdLst>
                <a:gd name="T0" fmla="*/ 6358 w 6359"/>
                <a:gd name="T1" fmla="*/ 0 h 3166"/>
                <a:gd name="T2" fmla="*/ 3193 w 6359"/>
                <a:gd name="T3" fmla="*/ 3165 h 3166"/>
                <a:gd name="T4" fmla="*/ 0 w 6359"/>
                <a:gd name="T5" fmla="*/ 0 h 3166"/>
                <a:gd name="T6" fmla="*/ 6358 w 6359"/>
                <a:gd name="T7" fmla="*/ 0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59" h="3166">
                  <a:moveTo>
                    <a:pt x="6358" y="0"/>
                  </a:moveTo>
                  <a:lnTo>
                    <a:pt x="3193" y="3165"/>
                  </a:lnTo>
                  <a:lnTo>
                    <a:pt x="0" y="0"/>
                  </a:lnTo>
                  <a:lnTo>
                    <a:pt x="6358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2"/>
            <p:cNvSpPr>
              <a:spLocks noChangeArrowheads="1"/>
            </p:cNvSpPr>
            <p:nvPr/>
          </p:nvSpPr>
          <p:spPr bwMode="auto">
            <a:xfrm>
              <a:off x="1308100" y="-171450"/>
              <a:ext cx="7986713" cy="6551613"/>
            </a:xfrm>
            <a:custGeom>
              <a:avLst/>
              <a:gdLst>
                <a:gd name="T0" fmla="*/ 10174 w 22185"/>
                <a:gd name="T1" fmla="*/ 10993 h 18201"/>
                <a:gd name="T2" fmla="*/ 10174 w 22185"/>
                <a:gd name="T3" fmla="*/ 10993 h 18201"/>
                <a:gd name="T4" fmla="*/ 9948 w 22185"/>
                <a:gd name="T5" fmla="*/ 9383 h 18201"/>
                <a:gd name="T6" fmla="*/ 11530 w 22185"/>
                <a:gd name="T7" fmla="*/ 9637 h 18201"/>
                <a:gd name="T8" fmla="*/ 10174 w 22185"/>
                <a:gd name="T9" fmla="*/ 10993 h 18201"/>
                <a:gd name="T10" fmla="*/ 16956 w 22185"/>
                <a:gd name="T11" fmla="*/ 2374 h 18201"/>
                <a:gd name="T12" fmla="*/ 16956 w 22185"/>
                <a:gd name="T13" fmla="*/ 2374 h 18201"/>
                <a:gd name="T14" fmla="*/ 18511 w 22185"/>
                <a:gd name="T15" fmla="*/ 2657 h 18201"/>
                <a:gd name="T16" fmla="*/ 17182 w 22185"/>
                <a:gd name="T17" fmla="*/ 3985 h 18201"/>
                <a:gd name="T18" fmla="*/ 16956 w 22185"/>
                <a:gd name="T19" fmla="*/ 2374 h 18201"/>
                <a:gd name="T20" fmla="*/ 21054 w 22185"/>
                <a:gd name="T21" fmla="*/ 3758 h 18201"/>
                <a:gd name="T22" fmla="*/ 21054 w 22185"/>
                <a:gd name="T23" fmla="*/ 3758 h 18201"/>
                <a:gd name="T24" fmla="*/ 18256 w 22185"/>
                <a:gd name="T25" fmla="*/ 5059 h 18201"/>
                <a:gd name="T26" fmla="*/ 21082 w 22185"/>
                <a:gd name="T27" fmla="*/ 2205 h 18201"/>
                <a:gd name="T28" fmla="*/ 20488 w 22185"/>
                <a:gd name="T29" fmla="*/ 1554 h 18201"/>
                <a:gd name="T30" fmla="*/ 15882 w 22185"/>
                <a:gd name="T31" fmla="*/ 1356 h 18201"/>
                <a:gd name="T32" fmla="*/ 15006 w 22185"/>
                <a:gd name="T33" fmla="*/ 4268 h 18201"/>
                <a:gd name="T34" fmla="*/ 14102 w 22185"/>
                <a:gd name="T35" fmla="*/ 3250 h 18201"/>
                <a:gd name="T36" fmla="*/ 13565 w 22185"/>
                <a:gd name="T37" fmla="*/ 5822 h 18201"/>
                <a:gd name="T38" fmla="*/ 12547 w 22185"/>
                <a:gd name="T39" fmla="*/ 4974 h 18201"/>
                <a:gd name="T40" fmla="*/ 11191 w 22185"/>
                <a:gd name="T41" fmla="*/ 6303 h 18201"/>
                <a:gd name="T42" fmla="*/ 13027 w 22185"/>
                <a:gd name="T43" fmla="*/ 8139 h 18201"/>
                <a:gd name="T44" fmla="*/ 8874 w 22185"/>
                <a:gd name="T45" fmla="*/ 8365 h 18201"/>
                <a:gd name="T46" fmla="*/ 8620 w 22185"/>
                <a:gd name="T47" fmla="*/ 12547 h 18201"/>
                <a:gd name="T48" fmla="*/ 8422 w 22185"/>
                <a:gd name="T49" fmla="*/ 12349 h 18201"/>
                <a:gd name="T50" fmla="*/ 5030 w 22185"/>
                <a:gd name="T51" fmla="*/ 12208 h 18201"/>
                <a:gd name="T52" fmla="*/ 4296 w 22185"/>
                <a:gd name="T53" fmla="*/ 13989 h 18201"/>
                <a:gd name="T54" fmla="*/ 1498 w 22185"/>
                <a:gd name="T55" fmla="*/ 11191 h 18201"/>
                <a:gd name="T56" fmla="*/ 0 w 22185"/>
                <a:gd name="T57" fmla="*/ 12688 h 18201"/>
                <a:gd name="T58" fmla="*/ 5539 w 22185"/>
                <a:gd name="T59" fmla="*/ 18200 h 18201"/>
                <a:gd name="T60" fmla="*/ 8507 w 22185"/>
                <a:gd name="T61" fmla="*/ 18200 h 18201"/>
                <a:gd name="T62" fmla="*/ 6500 w 22185"/>
                <a:gd name="T63" fmla="*/ 16222 h 18201"/>
                <a:gd name="T64" fmla="*/ 5964 w 22185"/>
                <a:gd name="T65" fmla="*/ 14074 h 18201"/>
                <a:gd name="T66" fmla="*/ 8026 w 22185"/>
                <a:gd name="T67" fmla="*/ 14893 h 18201"/>
                <a:gd name="T68" fmla="*/ 9976 w 22185"/>
                <a:gd name="T69" fmla="*/ 16871 h 18201"/>
                <a:gd name="T70" fmla="*/ 11473 w 22185"/>
                <a:gd name="T71" fmla="*/ 15373 h 18201"/>
                <a:gd name="T72" fmla="*/ 9609 w 22185"/>
                <a:gd name="T73" fmla="*/ 13509 h 18201"/>
                <a:gd name="T74" fmla="*/ 13989 w 22185"/>
                <a:gd name="T75" fmla="*/ 13141 h 18201"/>
                <a:gd name="T76" fmla="*/ 14017 w 22185"/>
                <a:gd name="T77" fmla="*/ 13113 h 18201"/>
                <a:gd name="T78" fmla="*/ 14017 w 22185"/>
                <a:gd name="T79" fmla="*/ 13113 h 18201"/>
                <a:gd name="T80" fmla="*/ 15175 w 22185"/>
                <a:gd name="T81" fmla="*/ 11530 h 18201"/>
                <a:gd name="T82" fmla="*/ 14045 w 22185"/>
                <a:gd name="T83" fmla="*/ 10768 h 18201"/>
                <a:gd name="T84" fmla="*/ 11247 w 22185"/>
                <a:gd name="T85" fmla="*/ 12067 h 18201"/>
                <a:gd name="T86" fmla="*/ 14073 w 22185"/>
                <a:gd name="T87" fmla="*/ 9214 h 18201"/>
                <a:gd name="T88" fmla="*/ 15854 w 22185"/>
                <a:gd name="T89" fmla="*/ 10993 h 18201"/>
                <a:gd name="T90" fmla="*/ 17408 w 22185"/>
                <a:gd name="T91" fmla="*/ 9440 h 18201"/>
                <a:gd name="T92" fmla="*/ 15203 w 22185"/>
                <a:gd name="T93" fmla="*/ 7207 h 18201"/>
                <a:gd name="T94" fmla="*/ 15203 w 22185"/>
                <a:gd name="T95" fmla="*/ 4833 h 18201"/>
                <a:gd name="T96" fmla="*/ 16080 w 22185"/>
                <a:gd name="T97" fmla="*/ 6048 h 18201"/>
                <a:gd name="T98" fmla="*/ 20998 w 22185"/>
                <a:gd name="T99" fmla="*/ 6161 h 18201"/>
                <a:gd name="T100" fmla="*/ 21026 w 22185"/>
                <a:gd name="T101" fmla="*/ 6133 h 18201"/>
                <a:gd name="T102" fmla="*/ 21026 w 22185"/>
                <a:gd name="T103" fmla="*/ 6133 h 18201"/>
                <a:gd name="T104" fmla="*/ 22184 w 22185"/>
                <a:gd name="T105" fmla="*/ 4522 h 18201"/>
                <a:gd name="T106" fmla="*/ 21054 w 22185"/>
                <a:gd name="T107" fmla="*/ 3758 h 18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85" h="18201">
                  <a:moveTo>
                    <a:pt x="10174" y="10993"/>
                  </a:moveTo>
                  <a:lnTo>
                    <a:pt x="10174" y="10993"/>
                  </a:lnTo>
                  <a:cubicBezTo>
                    <a:pt x="9496" y="10231"/>
                    <a:pt x="9524" y="9807"/>
                    <a:pt x="9948" y="9383"/>
                  </a:cubicBezTo>
                  <a:cubicBezTo>
                    <a:pt x="10456" y="8875"/>
                    <a:pt x="10937" y="9101"/>
                    <a:pt x="11530" y="9637"/>
                  </a:cubicBezTo>
                  <a:lnTo>
                    <a:pt x="10174" y="10993"/>
                  </a:lnTo>
                  <a:close/>
                  <a:moveTo>
                    <a:pt x="16956" y="2374"/>
                  </a:moveTo>
                  <a:lnTo>
                    <a:pt x="16956" y="2374"/>
                  </a:lnTo>
                  <a:cubicBezTo>
                    <a:pt x="17464" y="1894"/>
                    <a:pt x="17945" y="2092"/>
                    <a:pt x="18511" y="2657"/>
                  </a:cubicBezTo>
                  <a:cubicBezTo>
                    <a:pt x="17182" y="3985"/>
                    <a:pt x="17182" y="3985"/>
                    <a:pt x="17182" y="3985"/>
                  </a:cubicBezTo>
                  <a:cubicBezTo>
                    <a:pt x="16504" y="3222"/>
                    <a:pt x="16532" y="2798"/>
                    <a:pt x="16956" y="2374"/>
                  </a:cubicBezTo>
                  <a:close/>
                  <a:moveTo>
                    <a:pt x="21054" y="3758"/>
                  </a:moveTo>
                  <a:lnTo>
                    <a:pt x="21054" y="3758"/>
                  </a:lnTo>
                  <a:cubicBezTo>
                    <a:pt x="20432" y="4692"/>
                    <a:pt x="19358" y="6189"/>
                    <a:pt x="18256" y="5059"/>
                  </a:cubicBezTo>
                  <a:cubicBezTo>
                    <a:pt x="21082" y="2205"/>
                    <a:pt x="21082" y="2205"/>
                    <a:pt x="21082" y="2205"/>
                  </a:cubicBezTo>
                  <a:cubicBezTo>
                    <a:pt x="20828" y="1922"/>
                    <a:pt x="20630" y="1696"/>
                    <a:pt x="20488" y="1554"/>
                  </a:cubicBezTo>
                  <a:cubicBezTo>
                    <a:pt x="18963" y="28"/>
                    <a:pt x="17238" y="0"/>
                    <a:pt x="15882" y="1356"/>
                  </a:cubicBezTo>
                  <a:cubicBezTo>
                    <a:pt x="14977" y="2261"/>
                    <a:pt x="14723" y="3278"/>
                    <a:pt x="15006" y="4268"/>
                  </a:cubicBezTo>
                  <a:cubicBezTo>
                    <a:pt x="14102" y="3250"/>
                    <a:pt x="14102" y="3250"/>
                    <a:pt x="14102" y="3250"/>
                  </a:cubicBezTo>
                  <a:cubicBezTo>
                    <a:pt x="13847" y="3391"/>
                    <a:pt x="12745" y="4353"/>
                    <a:pt x="13565" y="5822"/>
                  </a:cubicBezTo>
                  <a:cubicBezTo>
                    <a:pt x="12547" y="4974"/>
                    <a:pt x="12547" y="4974"/>
                    <a:pt x="12547" y="4974"/>
                  </a:cubicBezTo>
                  <a:cubicBezTo>
                    <a:pt x="11191" y="6303"/>
                    <a:pt x="11191" y="6303"/>
                    <a:pt x="11191" y="6303"/>
                  </a:cubicBezTo>
                  <a:cubicBezTo>
                    <a:pt x="13027" y="8139"/>
                    <a:pt x="13027" y="8139"/>
                    <a:pt x="13027" y="8139"/>
                  </a:cubicBezTo>
                  <a:cubicBezTo>
                    <a:pt x="11615" y="7037"/>
                    <a:pt x="10089" y="7122"/>
                    <a:pt x="8874" y="8365"/>
                  </a:cubicBezTo>
                  <a:cubicBezTo>
                    <a:pt x="7546" y="9666"/>
                    <a:pt x="7659" y="11248"/>
                    <a:pt x="8620" y="12547"/>
                  </a:cubicBezTo>
                  <a:cubicBezTo>
                    <a:pt x="8422" y="12349"/>
                    <a:pt x="8422" y="12349"/>
                    <a:pt x="8422" y="12349"/>
                  </a:cubicBezTo>
                  <a:cubicBezTo>
                    <a:pt x="7150" y="11050"/>
                    <a:pt x="5738" y="11502"/>
                    <a:pt x="5030" y="12208"/>
                  </a:cubicBezTo>
                  <a:cubicBezTo>
                    <a:pt x="4494" y="12745"/>
                    <a:pt x="4183" y="13480"/>
                    <a:pt x="4296" y="13989"/>
                  </a:cubicBezTo>
                  <a:cubicBezTo>
                    <a:pt x="1498" y="11191"/>
                    <a:pt x="1498" y="11191"/>
                    <a:pt x="1498" y="11191"/>
                  </a:cubicBezTo>
                  <a:cubicBezTo>
                    <a:pt x="0" y="12688"/>
                    <a:pt x="0" y="12688"/>
                    <a:pt x="0" y="12688"/>
                  </a:cubicBezTo>
                  <a:cubicBezTo>
                    <a:pt x="5539" y="18200"/>
                    <a:pt x="5539" y="18200"/>
                    <a:pt x="5539" y="18200"/>
                  </a:cubicBezTo>
                  <a:cubicBezTo>
                    <a:pt x="8507" y="18200"/>
                    <a:pt x="8507" y="18200"/>
                    <a:pt x="8507" y="18200"/>
                  </a:cubicBezTo>
                  <a:cubicBezTo>
                    <a:pt x="6500" y="16222"/>
                    <a:pt x="6500" y="16222"/>
                    <a:pt x="6500" y="16222"/>
                  </a:cubicBezTo>
                  <a:cubicBezTo>
                    <a:pt x="5454" y="15147"/>
                    <a:pt x="5454" y="14582"/>
                    <a:pt x="5964" y="14074"/>
                  </a:cubicBezTo>
                  <a:cubicBezTo>
                    <a:pt x="6444" y="13593"/>
                    <a:pt x="7009" y="13904"/>
                    <a:pt x="8026" y="14893"/>
                  </a:cubicBezTo>
                  <a:cubicBezTo>
                    <a:pt x="9976" y="16871"/>
                    <a:pt x="9976" y="16871"/>
                    <a:pt x="9976" y="16871"/>
                  </a:cubicBezTo>
                  <a:cubicBezTo>
                    <a:pt x="11473" y="15373"/>
                    <a:pt x="11473" y="15373"/>
                    <a:pt x="11473" y="15373"/>
                  </a:cubicBezTo>
                  <a:cubicBezTo>
                    <a:pt x="9609" y="13509"/>
                    <a:pt x="9609" y="13509"/>
                    <a:pt x="9609" y="13509"/>
                  </a:cubicBezTo>
                  <a:cubicBezTo>
                    <a:pt x="10937" y="14526"/>
                    <a:pt x="12547" y="14582"/>
                    <a:pt x="13989" y="13141"/>
                  </a:cubicBezTo>
                  <a:cubicBezTo>
                    <a:pt x="14017" y="13141"/>
                    <a:pt x="14017" y="13141"/>
                    <a:pt x="14017" y="13113"/>
                  </a:cubicBezTo>
                  <a:lnTo>
                    <a:pt x="14017" y="13113"/>
                  </a:lnTo>
                  <a:cubicBezTo>
                    <a:pt x="14921" y="12321"/>
                    <a:pt x="15175" y="11530"/>
                    <a:pt x="15175" y="11530"/>
                  </a:cubicBezTo>
                  <a:cubicBezTo>
                    <a:pt x="14045" y="10768"/>
                    <a:pt x="14045" y="10768"/>
                    <a:pt x="14045" y="10768"/>
                  </a:cubicBezTo>
                  <a:cubicBezTo>
                    <a:pt x="13424" y="11700"/>
                    <a:pt x="12349" y="13198"/>
                    <a:pt x="11247" y="12067"/>
                  </a:cubicBezTo>
                  <a:cubicBezTo>
                    <a:pt x="14073" y="9214"/>
                    <a:pt x="14073" y="9214"/>
                    <a:pt x="14073" y="9214"/>
                  </a:cubicBezTo>
                  <a:cubicBezTo>
                    <a:pt x="15854" y="10993"/>
                    <a:pt x="15854" y="10993"/>
                    <a:pt x="15854" y="10993"/>
                  </a:cubicBezTo>
                  <a:cubicBezTo>
                    <a:pt x="17408" y="9440"/>
                    <a:pt x="17408" y="9440"/>
                    <a:pt x="17408" y="9440"/>
                  </a:cubicBezTo>
                  <a:cubicBezTo>
                    <a:pt x="15203" y="7207"/>
                    <a:pt x="15203" y="7207"/>
                    <a:pt x="15203" y="7207"/>
                  </a:cubicBezTo>
                  <a:cubicBezTo>
                    <a:pt x="14158" y="6161"/>
                    <a:pt x="14780" y="5200"/>
                    <a:pt x="15203" y="4833"/>
                  </a:cubicBezTo>
                  <a:cubicBezTo>
                    <a:pt x="15401" y="5257"/>
                    <a:pt x="15712" y="5680"/>
                    <a:pt x="16080" y="6048"/>
                  </a:cubicBezTo>
                  <a:cubicBezTo>
                    <a:pt x="17521" y="7489"/>
                    <a:pt x="19386" y="7772"/>
                    <a:pt x="20998" y="6161"/>
                  </a:cubicBezTo>
                  <a:cubicBezTo>
                    <a:pt x="21026" y="6133"/>
                    <a:pt x="21026" y="6133"/>
                    <a:pt x="21026" y="6133"/>
                  </a:cubicBezTo>
                  <a:lnTo>
                    <a:pt x="21026" y="6133"/>
                  </a:lnTo>
                  <a:cubicBezTo>
                    <a:pt x="21930" y="5313"/>
                    <a:pt x="22184" y="4522"/>
                    <a:pt x="22184" y="4522"/>
                  </a:cubicBezTo>
                  <a:lnTo>
                    <a:pt x="21054" y="3758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9659477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>
        <p15:guide id="1" pos="45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(Aqua)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15927" y="1239603"/>
            <a:ext cx="3806303" cy="652697"/>
          </a:xfrm>
          <a:prstGeom prst="rect">
            <a:avLst/>
          </a:prstGeom>
        </p:spPr>
        <p:txBody>
          <a:bodyPr lIns="34290" tIns="18001" rIns="34290" bIns="17145"/>
          <a:lstStyle>
            <a:lvl1pPr marL="0" indent="0">
              <a:buNone/>
              <a:defRPr sz="4796" b="0" i="0" baseline="0">
                <a:solidFill>
                  <a:schemeClr val="bg1"/>
                </a:solidFill>
                <a:latin typeface="Fira Sans Medium"/>
                <a:ea typeface="Fira Sans Book" panose="020B0503050000020004" pitchFamily="34" charset="0"/>
                <a:cs typeface="Fira Sans Medium"/>
              </a:defRPr>
            </a:lvl1pPr>
          </a:lstStyle>
          <a:p>
            <a:pPr lvl="0"/>
            <a:r>
              <a:rPr lang="en-US" noProof="0"/>
              <a:t>Add number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415925" y="1914062"/>
            <a:ext cx="7763940" cy="1439342"/>
          </a:xfrm>
          <a:prstGeom prst="rect">
            <a:avLst/>
          </a:prstGeom>
        </p:spPr>
        <p:txBody>
          <a:bodyPr lIns="34290" tIns="17145" rIns="34290" bIns="17145" anchor="t" anchorCtr="0"/>
          <a:lstStyle>
            <a:lvl1pPr>
              <a:defRPr sz="4796" b="0" i="0" baseline="0">
                <a:solidFill>
                  <a:schemeClr val="bg1"/>
                </a:solidFill>
                <a:latin typeface="Fira Sans Book"/>
                <a:ea typeface="Fira Sans Medium" panose="020B0603050000020004" pitchFamily="34" charset="0"/>
                <a:cs typeface="Fira Sans Book"/>
              </a:defRPr>
            </a:lvl1pPr>
          </a:lstStyle>
          <a:p>
            <a:r>
              <a:rPr lang="en-US" noProof="0"/>
              <a:t>Add titl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5925" y="3481757"/>
            <a:ext cx="7763940" cy="324036"/>
          </a:xfrm>
          <a:prstGeom prst="rect">
            <a:avLst/>
          </a:prstGeom>
        </p:spPr>
        <p:txBody>
          <a:bodyPr lIns="34290" tIns="17145" rIns="34290" bIns="17145"/>
          <a:lstStyle>
            <a:lvl1pPr marL="0" indent="0">
              <a:spcAft>
                <a:spcPts val="0"/>
              </a:spcAft>
              <a:buNone/>
              <a:defRPr sz="1799">
                <a:solidFill>
                  <a:srgbClr val="FFFFFF"/>
                </a:solidFill>
                <a:latin typeface="Fira Sans Book" panose="020B0503050000020004" pitchFamily="34" charset="0"/>
                <a:ea typeface="Fira Sans Book" panose="020B0503050000020004" pitchFamily="34" charset="0"/>
              </a:defRPr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r>
              <a:rPr lang="en-US" noProof="0">
                <a:solidFill>
                  <a:srgbClr val="FFFFFF"/>
                </a:solidFill>
              </a:rPr>
              <a:t>Subline for divider with colour only</a:t>
            </a:r>
          </a:p>
        </p:txBody>
      </p:sp>
    </p:spTree>
    <p:extLst>
      <p:ext uri="{BB962C8B-B14F-4D97-AF65-F5344CB8AC3E}">
        <p14:creationId xmlns:p14="http://schemas.microsoft.com/office/powerpoint/2010/main" val="1901192065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>
        <p15:guide id="1" pos="45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S17">
    <p:bg>
      <p:bgPr>
        <a:solidFill>
          <a:srgbClr val="383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8525979" y="4635500"/>
            <a:ext cx="428170" cy="397639"/>
            <a:chOff x="1012825" y="-171450"/>
            <a:chExt cx="8281988" cy="7691438"/>
          </a:xfrm>
          <a:solidFill>
            <a:schemeClr val="bg1"/>
          </a:solidFill>
        </p:grpSpPr>
        <p:sp>
          <p:nvSpPr>
            <p:cNvPr id="10" name="Freeform 1"/>
            <p:cNvSpPr>
              <a:spLocks noChangeArrowheads="1"/>
            </p:cNvSpPr>
            <p:nvPr/>
          </p:nvSpPr>
          <p:spPr bwMode="auto">
            <a:xfrm>
              <a:off x="1012825" y="6380163"/>
              <a:ext cx="2289175" cy="1139825"/>
            </a:xfrm>
            <a:custGeom>
              <a:avLst/>
              <a:gdLst>
                <a:gd name="T0" fmla="*/ 6358 w 6359"/>
                <a:gd name="T1" fmla="*/ 0 h 3166"/>
                <a:gd name="T2" fmla="*/ 3193 w 6359"/>
                <a:gd name="T3" fmla="*/ 3165 h 3166"/>
                <a:gd name="T4" fmla="*/ 0 w 6359"/>
                <a:gd name="T5" fmla="*/ 0 h 3166"/>
                <a:gd name="T6" fmla="*/ 6358 w 6359"/>
                <a:gd name="T7" fmla="*/ 0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59" h="3166">
                  <a:moveTo>
                    <a:pt x="6358" y="0"/>
                  </a:moveTo>
                  <a:lnTo>
                    <a:pt x="3193" y="3165"/>
                  </a:lnTo>
                  <a:lnTo>
                    <a:pt x="0" y="0"/>
                  </a:lnTo>
                  <a:lnTo>
                    <a:pt x="6358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99"/>
            </a:p>
          </p:txBody>
        </p:sp>
        <p:sp>
          <p:nvSpPr>
            <p:cNvPr id="11" name="Freeform 2"/>
            <p:cNvSpPr>
              <a:spLocks noChangeArrowheads="1"/>
            </p:cNvSpPr>
            <p:nvPr/>
          </p:nvSpPr>
          <p:spPr bwMode="auto">
            <a:xfrm>
              <a:off x="1308100" y="-171450"/>
              <a:ext cx="7986713" cy="6551613"/>
            </a:xfrm>
            <a:custGeom>
              <a:avLst/>
              <a:gdLst>
                <a:gd name="T0" fmla="*/ 10174 w 22185"/>
                <a:gd name="T1" fmla="*/ 10993 h 18201"/>
                <a:gd name="T2" fmla="*/ 10174 w 22185"/>
                <a:gd name="T3" fmla="*/ 10993 h 18201"/>
                <a:gd name="T4" fmla="*/ 9948 w 22185"/>
                <a:gd name="T5" fmla="*/ 9383 h 18201"/>
                <a:gd name="T6" fmla="*/ 11530 w 22185"/>
                <a:gd name="T7" fmla="*/ 9637 h 18201"/>
                <a:gd name="T8" fmla="*/ 10174 w 22185"/>
                <a:gd name="T9" fmla="*/ 10993 h 18201"/>
                <a:gd name="T10" fmla="*/ 16956 w 22185"/>
                <a:gd name="T11" fmla="*/ 2374 h 18201"/>
                <a:gd name="T12" fmla="*/ 16956 w 22185"/>
                <a:gd name="T13" fmla="*/ 2374 h 18201"/>
                <a:gd name="T14" fmla="*/ 18511 w 22185"/>
                <a:gd name="T15" fmla="*/ 2657 h 18201"/>
                <a:gd name="T16" fmla="*/ 17182 w 22185"/>
                <a:gd name="T17" fmla="*/ 3985 h 18201"/>
                <a:gd name="T18" fmla="*/ 16956 w 22185"/>
                <a:gd name="T19" fmla="*/ 2374 h 18201"/>
                <a:gd name="T20" fmla="*/ 21054 w 22185"/>
                <a:gd name="T21" fmla="*/ 3758 h 18201"/>
                <a:gd name="T22" fmla="*/ 21054 w 22185"/>
                <a:gd name="T23" fmla="*/ 3758 h 18201"/>
                <a:gd name="T24" fmla="*/ 18256 w 22185"/>
                <a:gd name="T25" fmla="*/ 5059 h 18201"/>
                <a:gd name="T26" fmla="*/ 21082 w 22185"/>
                <a:gd name="T27" fmla="*/ 2205 h 18201"/>
                <a:gd name="T28" fmla="*/ 20488 w 22185"/>
                <a:gd name="T29" fmla="*/ 1554 h 18201"/>
                <a:gd name="T30" fmla="*/ 15882 w 22185"/>
                <a:gd name="T31" fmla="*/ 1356 h 18201"/>
                <a:gd name="T32" fmla="*/ 15006 w 22185"/>
                <a:gd name="T33" fmla="*/ 4268 h 18201"/>
                <a:gd name="T34" fmla="*/ 14102 w 22185"/>
                <a:gd name="T35" fmla="*/ 3250 h 18201"/>
                <a:gd name="T36" fmla="*/ 13565 w 22185"/>
                <a:gd name="T37" fmla="*/ 5822 h 18201"/>
                <a:gd name="T38" fmla="*/ 12547 w 22185"/>
                <a:gd name="T39" fmla="*/ 4974 h 18201"/>
                <a:gd name="T40" fmla="*/ 11191 w 22185"/>
                <a:gd name="T41" fmla="*/ 6303 h 18201"/>
                <a:gd name="T42" fmla="*/ 13027 w 22185"/>
                <a:gd name="T43" fmla="*/ 8139 h 18201"/>
                <a:gd name="T44" fmla="*/ 8874 w 22185"/>
                <a:gd name="T45" fmla="*/ 8365 h 18201"/>
                <a:gd name="T46" fmla="*/ 8620 w 22185"/>
                <a:gd name="T47" fmla="*/ 12547 h 18201"/>
                <a:gd name="T48" fmla="*/ 8422 w 22185"/>
                <a:gd name="T49" fmla="*/ 12349 h 18201"/>
                <a:gd name="T50" fmla="*/ 5030 w 22185"/>
                <a:gd name="T51" fmla="*/ 12208 h 18201"/>
                <a:gd name="T52" fmla="*/ 4296 w 22185"/>
                <a:gd name="T53" fmla="*/ 13989 h 18201"/>
                <a:gd name="T54" fmla="*/ 1498 w 22185"/>
                <a:gd name="T55" fmla="*/ 11191 h 18201"/>
                <a:gd name="T56" fmla="*/ 0 w 22185"/>
                <a:gd name="T57" fmla="*/ 12688 h 18201"/>
                <a:gd name="T58" fmla="*/ 5539 w 22185"/>
                <a:gd name="T59" fmla="*/ 18200 h 18201"/>
                <a:gd name="T60" fmla="*/ 8507 w 22185"/>
                <a:gd name="T61" fmla="*/ 18200 h 18201"/>
                <a:gd name="T62" fmla="*/ 6500 w 22185"/>
                <a:gd name="T63" fmla="*/ 16222 h 18201"/>
                <a:gd name="T64" fmla="*/ 5964 w 22185"/>
                <a:gd name="T65" fmla="*/ 14074 h 18201"/>
                <a:gd name="T66" fmla="*/ 8026 w 22185"/>
                <a:gd name="T67" fmla="*/ 14893 h 18201"/>
                <a:gd name="T68" fmla="*/ 9976 w 22185"/>
                <a:gd name="T69" fmla="*/ 16871 h 18201"/>
                <a:gd name="T70" fmla="*/ 11473 w 22185"/>
                <a:gd name="T71" fmla="*/ 15373 h 18201"/>
                <a:gd name="T72" fmla="*/ 9609 w 22185"/>
                <a:gd name="T73" fmla="*/ 13509 h 18201"/>
                <a:gd name="T74" fmla="*/ 13989 w 22185"/>
                <a:gd name="T75" fmla="*/ 13141 h 18201"/>
                <a:gd name="T76" fmla="*/ 14017 w 22185"/>
                <a:gd name="T77" fmla="*/ 13113 h 18201"/>
                <a:gd name="T78" fmla="*/ 14017 w 22185"/>
                <a:gd name="T79" fmla="*/ 13113 h 18201"/>
                <a:gd name="T80" fmla="*/ 15175 w 22185"/>
                <a:gd name="T81" fmla="*/ 11530 h 18201"/>
                <a:gd name="T82" fmla="*/ 14045 w 22185"/>
                <a:gd name="T83" fmla="*/ 10768 h 18201"/>
                <a:gd name="T84" fmla="*/ 11247 w 22185"/>
                <a:gd name="T85" fmla="*/ 12067 h 18201"/>
                <a:gd name="T86" fmla="*/ 14073 w 22185"/>
                <a:gd name="T87" fmla="*/ 9214 h 18201"/>
                <a:gd name="T88" fmla="*/ 15854 w 22185"/>
                <a:gd name="T89" fmla="*/ 10993 h 18201"/>
                <a:gd name="T90" fmla="*/ 17408 w 22185"/>
                <a:gd name="T91" fmla="*/ 9440 h 18201"/>
                <a:gd name="T92" fmla="*/ 15203 w 22185"/>
                <a:gd name="T93" fmla="*/ 7207 h 18201"/>
                <a:gd name="T94" fmla="*/ 15203 w 22185"/>
                <a:gd name="T95" fmla="*/ 4833 h 18201"/>
                <a:gd name="T96" fmla="*/ 16080 w 22185"/>
                <a:gd name="T97" fmla="*/ 6048 h 18201"/>
                <a:gd name="T98" fmla="*/ 20998 w 22185"/>
                <a:gd name="T99" fmla="*/ 6161 h 18201"/>
                <a:gd name="T100" fmla="*/ 21026 w 22185"/>
                <a:gd name="T101" fmla="*/ 6133 h 18201"/>
                <a:gd name="T102" fmla="*/ 21026 w 22185"/>
                <a:gd name="T103" fmla="*/ 6133 h 18201"/>
                <a:gd name="T104" fmla="*/ 22184 w 22185"/>
                <a:gd name="T105" fmla="*/ 4522 h 18201"/>
                <a:gd name="T106" fmla="*/ 21054 w 22185"/>
                <a:gd name="T107" fmla="*/ 3758 h 18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85" h="18201">
                  <a:moveTo>
                    <a:pt x="10174" y="10993"/>
                  </a:moveTo>
                  <a:lnTo>
                    <a:pt x="10174" y="10993"/>
                  </a:lnTo>
                  <a:cubicBezTo>
                    <a:pt x="9496" y="10231"/>
                    <a:pt x="9524" y="9807"/>
                    <a:pt x="9948" y="9383"/>
                  </a:cubicBezTo>
                  <a:cubicBezTo>
                    <a:pt x="10456" y="8875"/>
                    <a:pt x="10937" y="9101"/>
                    <a:pt x="11530" y="9637"/>
                  </a:cubicBezTo>
                  <a:lnTo>
                    <a:pt x="10174" y="10993"/>
                  </a:lnTo>
                  <a:close/>
                  <a:moveTo>
                    <a:pt x="16956" y="2374"/>
                  </a:moveTo>
                  <a:lnTo>
                    <a:pt x="16956" y="2374"/>
                  </a:lnTo>
                  <a:cubicBezTo>
                    <a:pt x="17464" y="1894"/>
                    <a:pt x="17945" y="2092"/>
                    <a:pt x="18511" y="2657"/>
                  </a:cubicBezTo>
                  <a:cubicBezTo>
                    <a:pt x="17182" y="3985"/>
                    <a:pt x="17182" y="3985"/>
                    <a:pt x="17182" y="3985"/>
                  </a:cubicBezTo>
                  <a:cubicBezTo>
                    <a:pt x="16504" y="3222"/>
                    <a:pt x="16532" y="2798"/>
                    <a:pt x="16956" y="2374"/>
                  </a:cubicBezTo>
                  <a:close/>
                  <a:moveTo>
                    <a:pt x="21054" y="3758"/>
                  </a:moveTo>
                  <a:lnTo>
                    <a:pt x="21054" y="3758"/>
                  </a:lnTo>
                  <a:cubicBezTo>
                    <a:pt x="20432" y="4692"/>
                    <a:pt x="19358" y="6189"/>
                    <a:pt x="18256" y="5059"/>
                  </a:cubicBezTo>
                  <a:cubicBezTo>
                    <a:pt x="21082" y="2205"/>
                    <a:pt x="21082" y="2205"/>
                    <a:pt x="21082" y="2205"/>
                  </a:cubicBezTo>
                  <a:cubicBezTo>
                    <a:pt x="20828" y="1922"/>
                    <a:pt x="20630" y="1696"/>
                    <a:pt x="20488" y="1554"/>
                  </a:cubicBezTo>
                  <a:cubicBezTo>
                    <a:pt x="18963" y="28"/>
                    <a:pt x="17238" y="0"/>
                    <a:pt x="15882" y="1356"/>
                  </a:cubicBezTo>
                  <a:cubicBezTo>
                    <a:pt x="14977" y="2261"/>
                    <a:pt x="14723" y="3278"/>
                    <a:pt x="15006" y="4268"/>
                  </a:cubicBezTo>
                  <a:cubicBezTo>
                    <a:pt x="14102" y="3250"/>
                    <a:pt x="14102" y="3250"/>
                    <a:pt x="14102" y="3250"/>
                  </a:cubicBezTo>
                  <a:cubicBezTo>
                    <a:pt x="13847" y="3391"/>
                    <a:pt x="12745" y="4353"/>
                    <a:pt x="13565" y="5822"/>
                  </a:cubicBezTo>
                  <a:cubicBezTo>
                    <a:pt x="12547" y="4974"/>
                    <a:pt x="12547" y="4974"/>
                    <a:pt x="12547" y="4974"/>
                  </a:cubicBezTo>
                  <a:cubicBezTo>
                    <a:pt x="11191" y="6303"/>
                    <a:pt x="11191" y="6303"/>
                    <a:pt x="11191" y="6303"/>
                  </a:cubicBezTo>
                  <a:cubicBezTo>
                    <a:pt x="13027" y="8139"/>
                    <a:pt x="13027" y="8139"/>
                    <a:pt x="13027" y="8139"/>
                  </a:cubicBezTo>
                  <a:cubicBezTo>
                    <a:pt x="11615" y="7037"/>
                    <a:pt x="10089" y="7122"/>
                    <a:pt x="8874" y="8365"/>
                  </a:cubicBezTo>
                  <a:cubicBezTo>
                    <a:pt x="7546" y="9666"/>
                    <a:pt x="7659" y="11248"/>
                    <a:pt x="8620" y="12547"/>
                  </a:cubicBezTo>
                  <a:cubicBezTo>
                    <a:pt x="8422" y="12349"/>
                    <a:pt x="8422" y="12349"/>
                    <a:pt x="8422" y="12349"/>
                  </a:cubicBezTo>
                  <a:cubicBezTo>
                    <a:pt x="7150" y="11050"/>
                    <a:pt x="5738" y="11502"/>
                    <a:pt x="5030" y="12208"/>
                  </a:cubicBezTo>
                  <a:cubicBezTo>
                    <a:pt x="4494" y="12745"/>
                    <a:pt x="4183" y="13480"/>
                    <a:pt x="4296" y="13989"/>
                  </a:cubicBezTo>
                  <a:cubicBezTo>
                    <a:pt x="1498" y="11191"/>
                    <a:pt x="1498" y="11191"/>
                    <a:pt x="1498" y="11191"/>
                  </a:cubicBezTo>
                  <a:cubicBezTo>
                    <a:pt x="0" y="12688"/>
                    <a:pt x="0" y="12688"/>
                    <a:pt x="0" y="12688"/>
                  </a:cubicBezTo>
                  <a:cubicBezTo>
                    <a:pt x="5539" y="18200"/>
                    <a:pt x="5539" y="18200"/>
                    <a:pt x="5539" y="18200"/>
                  </a:cubicBezTo>
                  <a:cubicBezTo>
                    <a:pt x="8507" y="18200"/>
                    <a:pt x="8507" y="18200"/>
                    <a:pt x="8507" y="18200"/>
                  </a:cubicBezTo>
                  <a:cubicBezTo>
                    <a:pt x="6500" y="16222"/>
                    <a:pt x="6500" y="16222"/>
                    <a:pt x="6500" y="16222"/>
                  </a:cubicBezTo>
                  <a:cubicBezTo>
                    <a:pt x="5454" y="15147"/>
                    <a:pt x="5454" y="14582"/>
                    <a:pt x="5964" y="14074"/>
                  </a:cubicBezTo>
                  <a:cubicBezTo>
                    <a:pt x="6444" y="13593"/>
                    <a:pt x="7009" y="13904"/>
                    <a:pt x="8026" y="14893"/>
                  </a:cubicBezTo>
                  <a:cubicBezTo>
                    <a:pt x="9976" y="16871"/>
                    <a:pt x="9976" y="16871"/>
                    <a:pt x="9976" y="16871"/>
                  </a:cubicBezTo>
                  <a:cubicBezTo>
                    <a:pt x="11473" y="15373"/>
                    <a:pt x="11473" y="15373"/>
                    <a:pt x="11473" y="15373"/>
                  </a:cubicBezTo>
                  <a:cubicBezTo>
                    <a:pt x="9609" y="13509"/>
                    <a:pt x="9609" y="13509"/>
                    <a:pt x="9609" y="13509"/>
                  </a:cubicBezTo>
                  <a:cubicBezTo>
                    <a:pt x="10937" y="14526"/>
                    <a:pt x="12547" y="14582"/>
                    <a:pt x="13989" y="13141"/>
                  </a:cubicBezTo>
                  <a:cubicBezTo>
                    <a:pt x="14017" y="13141"/>
                    <a:pt x="14017" y="13141"/>
                    <a:pt x="14017" y="13113"/>
                  </a:cubicBezTo>
                  <a:lnTo>
                    <a:pt x="14017" y="13113"/>
                  </a:lnTo>
                  <a:cubicBezTo>
                    <a:pt x="14921" y="12321"/>
                    <a:pt x="15175" y="11530"/>
                    <a:pt x="15175" y="11530"/>
                  </a:cubicBezTo>
                  <a:cubicBezTo>
                    <a:pt x="14045" y="10768"/>
                    <a:pt x="14045" y="10768"/>
                    <a:pt x="14045" y="10768"/>
                  </a:cubicBezTo>
                  <a:cubicBezTo>
                    <a:pt x="13424" y="11700"/>
                    <a:pt x="12349" y="13198"/>
                    <a:pt x="11247" y="12067"/>
                  </a:cubicBezTo>
                  <a:cubicBezTo>
                    <a:pt x="14073" y="9214"/>
                    <a:pt x="14073" y="9214"/>
                    <a:pt x="14073" y="9214"/>
                  </a:cubicBezTo>
                  <a:cubicBezTo>
                    <a:pt x="15854" y="10993"/>
                    <a:pt x="15854" y="10993"/>
                    <a:pt x="15854" y="10993"/>
                  </a:cubicBezTo>
                  <a:cubicBezTo>
                    <a:pt x="17408" y="9440"/>
                    <a:pt x="17408" y="9440"/>
                    <a:pt x="17408" y="9440"/>
                  </a:cubicBezTo>
                  <a:cubicBezTo>
                    <a:pt x="15203" y="7207"/>
                    <a:pt x="15203" y="7207"/>
                    <a:pt x="15203" y="7207"/>
                  </a:cubicBezTo>
                  <a:cubicBezTo>
                    <a:pt x="14158" y="6161"/>
                    <a:pt x="14780" y="5200"/>
                    <a:pt x="15203" y="4833"/>
                  </a:cubicBezTo>
                  <a:cubicBezTo>
                    <a:pt x="15401" y="5257"/>
                    <a:pt x="15712" y="5680"/>
                    <a:pt x="16080" y="6048"/>
                  </a:cubicBezTo>
                  <a:cubicBezTo>
                    <a:pt x="17521" y="7489"/>
                    <a:pt x="19386" y="7772"/>
                    <a:pt x="20998" y="6161"/>
                  </a:cubicBezTo>
                  <a:cubicBezTo>
                    <a:pt x="21026" y="6133"/>
                    <a:pt x="21026" y="6133"/>
                    <a:pt x="21026" y="6133"/>
                  </a:cubicBezTo>
                  <a:lnTo>
                    <a:pt x="21026" y="6133"/>
                  </a:lnTo>
                  <a:cubicBezTo>
                    <a:pt x="21930" y="5313"/>
                    <a:pt x="22184" y="4522"/>
                    <a:pt x="22184" y="4522"/>
                  </a:cubicBezTo>
                  <a:lnTo>
                    <a:pt x="21054" y="3758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99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5D5F1F4-51BA-448D-BAB9-77363A885FDB}"/>
              </a:ext>
            </a:extLst>
          </p:cNvPr>
          <p:cNvGrpSpPr/>
          <p:nvPr userDrawn="1"/>
        </p:nvGrpSpPr>
        <p:grpSpPr>
          <a:xfrm>
            <a:off x="741267" y="-1122910"/>
            <a:ext cx="7633941" cy="913554"/>
            <a:chOff x="-450334" y="1809750"/>
            <a:chExt cx="7633941" cy="9144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4F283F1-4EC6-4B71-BD1F-60CAA2F09F33}"/>
                </a:ext>
              </a:extLst>
            </p:cNvPr>
            <p:cNvSpPr/>
            <p:nvPr/>
          </p:nvSpPr>
          <p:spPr>
            <a:xfrm>
              <a:off x="-450334" y="1809750"/>
              <a:ext cx="914400" cy="914400"/>
            </a:xfrm>
            <a:prstGeom prst="rect">
              <a:avLst/>
            </a:prstGeom>
            <a:solidFill>
              <a:srgbClr val="6A6D74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4C39640-8175-4E94-B8CD-E34588C293CC}"/>
                </a:ext>
              </a:extLst>
            </p:cNvPr>
            <p:cNvSpPr/>
            <p:nvPr/>
          </p:nvSpPr>
          <p:spPr>
            <a:xfrm>
              <a:off x="509600" y="1809750"/>
              <a:ext cx="914400" cy="914400"/>
            </a:xfrm>
            <a:prstGeom prst="rect">
              <a:avLst/>
            </a:prstGeom>
            <a:solidFill>
              <a:srgbClr val="001134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E4C68888-A1C5-4F24-9408-7554AF70D747}"/>
                </a:ext>
              </a:extLst>
            </p:cNvPr>
            <p:cNvSpPr/>
            <p:nvPr/>
          </p:nvSpPr>
          <p:spPr>
            <a:xfrm>
              <a:off x="1469534" y="1809750"/>
              <a:ext cx="914400" cy="914400"/>
            </a:xfrm>
            <a:prstGeom prst="rect">
              <a:avLst/>
            </a:prstGeom>
            <a:solidFill>
              <a:srgbClr val="00AFAA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35256CB1-40F6-4A11-9F00-5891E91CB704}"/>
                </a:ext>
              </a:extLst>
            </p:cNvPr>
            <p:cNvSpPr/>
            <p:nvPr/>
          </p:nvSpPr>
          <p:spPr>
            <a:xfrm>
              <a:off x="2429468" y="1809750"/>
              <a:ext cx="914400" cy="914400"/>
            </a:xfrm>
            <a:prstGeom prst="rect">
              <a:avLst/>
            </a:prstGeom>
            <a:solidFill>
              <a:srgbClr val="0F1620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5C34898-11F6-4446-B42E-017002091FBF}"/>
                </a:ext>
              </a:extLst>
            </p:cNvPr>
            <p:cNvSpPr/>
            <p:nvPr/>
          </p:nvSpPr>
          <p:spPr>
            <a:xfrm>
              <a:off x="3389402" y="1809750"/>
              <a:ext cx="914400" cy="914400"/>
            </a:xfrm>
            <a:prstGeom prst="rect">
              <a:avLst/>
            </a:prstGeom>
            <a:solidFill>
              <a:srgbClr val="383C45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09F9994-A2CA-4C5B-9BE2-FCCE250437FE}"/>
                </a:ext>
              </a:extLst>
            </p:cNvPr>
            <p:cNvSpPr/>
            <p:nvPr/>
          </p:nvSpPr>
          <p:spPr>
            <a:xfrm>
              <a:off x="4349336" y="1809750"/>
              <a:ext cx="914400" cy="914400"/>
            </a:xfrm>
            <a:prstGeom prst="rect">
              <a:avLst/>
            </a:prstGeom>
            <a:solidFill>
              <a:srgbClr val="3F59A7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988026C-D985-4B38-8246-BDF4877091B6}"/>
                </a:ext>
              </a:extLst>
            </p:cNvPr>
            <p:cNvSpPr/>
            <p:nvPr/>
          </p:nvSpPr>
          <p:spPr>
            <a:xfrm>
              <a:off x="5309270" y="1809750"/>
              <a:ext cx="914400" cy="914400"/>
            </a:xfrm>
            <a:prstGeom prst="rect">
              <a:avLst/>
            </a:prstGeom>
            <a:solidFill>
              <a:srgbClr val="52A3DB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91081748-1D28-44EA-BB6F-9EC7696FBAA2}"/>
                </a:ext>
              </a:extLst>
            </p:cNvPr>
            <p:cNvSpPr/>
            <p:nvPr/>
          </p:nvSpPr>
          <p:spPr>
            <a:xfrm>
              <a:off x="6269207" y="1809750"/>
              <a:ext cx="914400" cy="914400"/>
            </a:xfrm>
            <a:prstGeom prst="rect">
              <a:avLst/>
            </a:prstGeom>
            <a:solidFill>
              <a:srgbClr val="673A93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DCFE0CD6-5CC5-47EE-BD2D-8480F908FA8B}"/>
              </a:ext>
            </a:extLst>
          </p:cNvPr>
          <p:cNvGrpSpPr/>
          <p:nvPr userDrawn="1"/>
        </p:nvGrpSpPr>
        <p:grpSpPr>
          <a:xfrm>
            <a:off x="1135434" y="5494316"/>
            <a:ext cx="6858778" cy="817260"/>
            <a:chOff x="1385110" y="631983"/>
            <a:chExt cx="6858778" cy="3916205"/>
          </a:xfrm>
        </p:grpSpPr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E64FED2E-868E-4679-A960-8D1D696C06EE}"/>
                </a:ext>
              </a:extLst>
            </p:cNvPr>
            <p:cNvSpPr/>
            <p:nvPr/>
          </p:nvSpPr>
          <p:spPr>
            <a:xfrm>
              <a:off x="1385110" y="631983"/>
              <a:ext cx="1169016" cy="1169016"/>
            </a:xfrm>
            <a:prstGeom prst="rect">
              <a:avLst/>
            </a:prstGeom>
            <a:solidFill>
              <a:srgbClr val="48DAD0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BD28FC44-9C40-4378-83A9-E99D119E33B4}"/>
                </a:ext>
              </a:extLst>
            </p:cNvPr>
            <p:cNvSpPr/>
            <p:nvPr/>
          </p:nvSpPr>
          <p:spPr>
            <a:xfrm>
              <a:off x="1385110" y="2005577"/>
              <a:ext cx="1169016" cy="1169016"/>
            </a:xfrm>
            <a:prstGeom prst="rect">
              <a:avLst/>
            </a:prstGeom>
            <a:solidFill>
              <a:srgbClr val="06B87C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75CF4BFB-C220-4BF7-BF6A-F50463C6F6C9}"/>
                </a:ext>
              </a:extLst>
            </p:cNvPr>
            <p:cNvSpPr/>
            <p:nvPr/>
          </p:nvSpPr>
          <p:spPr>
            <a:xfrm>
              <a:off x="2797671" y="631983"/>
              <a:ext cx="1169016" cy="1169016"/>
            </a:xfrm>
            <a:prstGeom prst="rect">
              <a:avLst/>
            </a:prstGeom>
            <a:solidFill>
              <a:srgbClr val="00AFAA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27" name="Rectangle 8">
              <a:extLst>
                <a:ext uri="{FF2B5EF4-FFF2-40B4-BE49-F238E27FC236}">
                  <a16:creationId xmlns:a16="http://schemas.microsoft.com/office/drawing/2014/main" id="{F8E821EE-CE79-4E8B-9E15-3627E6261FF9}"/>
                </a:ext>
              </a:extLst>
            </p:cNvPr>
            <p:cNvSpPr/>
            <p:nvPr/>
          </p:nvSpPr>
          <p:spPr>
            <a:xfrm>
              <a:off x="2797671" y="2005577"/>
              <a:ext cx="1169016" cy="1169016"/>
            </a:xfrm>
            <a:prstGeom prst="rect">
              <a:avLst/>
            </a:prstGeom>
            <a:solidFill>
              <a:srgbClr val="70943C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7F1E546C-82E1-405F-A21E-D1419B458746}"/>
                </a:ext>
              </a:extLst>
            </p:cNvPr>
            <p:cNvSpPr/>
            <p:nvPr/>
          </p:nvSpPr>
          <p:spPr>
            <a:xfrm>
              <a:off x="2797671" y="3379172"/>
              <a:ext cx="1169016" cy="1169016"/>
            </a:xfrm>
            <a:prstGeom prst="rect">
              <a:avLst/>
            </a:prstGeom>
            <a:solidFill>
              <a:srgbClr val="0F1621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902D3C20-E464-44A4-B490-5BA3FDCC207C}"/>
                </a:ext>
              </a:extLst>
            </p:cNvPr>
            <p:cNvSpPr/>
            <p:nvPr/>
          </p:nvSpPr>
          <p:spPr>
            <a:xfrm>
              <a:off x="4223405" y="631983"/>
              <a:ext cx="1169016" cy="1169016"/>
            </a:xfrm>
            <a:prstGeom prst="rect">
              <a:avLst/>
            </a:prstGeom>
            <a:solidFill>
              <a:srgbClr val="3F59A7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30" name="Rectangle 11">
              <a:extLst>
                <a:ext uri="{FF2B5EF4-FFF2-40B4-BE49-F238E27FC236}">
                  <a16:creationId xmlns:a16="http://schemas.microsoft.com/office/drawing/2014/main" id="{D682F8F9-032B-492D-B270-2600F923A269}"/>
                </a:ext>
              </a:extLst>
            </p:cNvPr>
            <p:cNvSpPr/>
            <p:nvPr/>
          </p:nvSpPr>
          <p:spPr>
            <a:xfrm>
              <a:off x="4223405" y="2005577"/>
              <a:ext cx="1169016" cy="1169016"/>
            </a:xfrm>
            <a:prstGeom prst="rect">
              <a:avLst/>
            </a:prstGeom>
            <a:solidFill>
              <a:srgbClr val="FAB800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081F5D99-6FCD-4EBB-97A7-D326BAB8E20D}"/>
                </a:ext>
              </a:extLst>
            </p:cNvPr>
            <p:cNvSpPr/>
            <p:nvPr/>
          </p:nvSpPr>
          <p:spPr>
            <a:xfrm>
              <a:off x="4223405" y="3379172"/>
              <a:ext cx="1169016" cy="11690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E6DAC956-55EC-4940-AB5F-C2D1B75ED7C1}"/>
                </a:ext>
              </a:extLst>
            </p:cNvPr>
            <p:cNvSpPr/>
            <p:nvPr/>
          </p:nvSpPr>
          <p:spPr>
            <a:xfrm>
              <a:off x="5649138" y="631983"/>
              <a:ext cx="1169016" cy="1169016"/>
            </a:xfrm>
            <a:prstGeom prst="rect">
              <a:avLst/>
            </a:prstGeom>
            <a:solidFill>
              <a:srgbClr val="52A3DB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C89D160A-0371-4504-AFB7-BA524074D038}"/>
                </a:ext>
              </a:extLst>
            </p:cNvPr>
            <p:cNvSpPr/>
            <p:nvPr/>
          </p:nvSpPr>
          <p:spPr>
            <a:xfrm>
              <a:off x="5649138" y="2005577"/>
              <a:ext cx="1169016" cy="1169016"/>
            </a:xfrm>
            <a:prstGeom prst="rect">
              <a:avLst/>
            </a:prstGeom>
            <a:solidFill>
              <a:srgbClr val="383C45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34" name="Rectangle 15">
              <a:extLst>
                <a:ext uri="{FF2B5EF4-FFF2-40B4-BE49-F238E27FC236}">
                  <a16:creationId xmlns:a16="http://schemas.microsoft.com/office/drawing/2014/main" id="{1BED8528-281D-44D0-B2B0-B22226AD08BA}"/>
                </a:ext>
              </a:extLst>
            </p:cNvPr>
            <p:cNvSpPr/>
            <p:nvPr/>
          </p:nvSpPr>
          <p:spPr>
            <a:xfrm>
              <a:off x="5649138" y="3379172"/>
              <a:ext cx="1169016" cy="1169016"/>
            </a:xfrm>
            <a:prstGeom prst="rect">
              <a:avLst/>
            </a:prstGeom>
            <a:solidFill>
              <a:srgbClr val="EC610E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35" name="Rectangle 16">
              <a:extLst>
                <a:ext uri="{FF2B5EF4-FFF2-40B4-BE49-F238E27FC236}">
                  <a16:creationId xmlns:a16="http://schemas.microsoft.com/office/drawing/2014/main" id="{F00DA711-060D-44D1-BAFE-DF76A3443E18}"/>
                </a:ext>
              </a:extLst>
            </p:cNvPr>
            <p:cNvSpPr/>
            <p:nvPr/>
          </p:nvSpPr>
          <p:spPr>
            <a:xfrm>
              <a:off x="7074872" y="631983"/>
              <a:ext cx="1169016" cy="1169016"/>
            </a:xfrm>
            <a:prstGeom prst="rect">
              <a:avLst/>
            </a:prstGeom>
            <a:solidFill>
              <a:srgbClr val="673A93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id="{AFB96E2E-869E-4A70-97D1-779E87F43402}"/>
                </a:ext>
              </a:extLst>
            </p:cNvPr>
            <p:cNvSpPr/>
            <p:nvPr/>
          </p:nvSpPr>
          <p:spPr>
            <a:xfrm>
              <a:off x="7074872" y="2005577"/>
              <a:ext cx="1169016" cy="1169016"/>
            </a:xfrm>
            <a:prstGeom prst="rect">
              <a:avLst/>
            </a:prstGeom>
            <a:solidFill>
              <a:srgbClr val="C53580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  <p:sp>
          <p:nvSpPr>
            <p:cNvPr id="37" name="Rectangle 18">
              <a:extLst>
                <a:ext uri="{FF2B5EF4-FFF2-40B4-BE49-F238E27FC236}">
                  <a16:creationId xmlns:a16="http://schemas.microsoft.com/office/drawing/2014/main" id="{D214E021-E109-4296-9C7F-03B3AF6FB100}"/>
                </a:ext>
              </a:extLst>
            </p:cNvPr>
            <p:cNvSpPr/>
            <p:nvPr/>
          </p:nvSpPr>
          <p:spPr>
            <a:xfrm>
              <a:off x="7074872" y="3379172"/>
              <a:ext cx="1169016" cy="1169016"/>
            </a:xfrm>
            <a:prstGeom prst="rect">
              <a:avLst/>
            </a:prstGeom>
            <a:solidFill>
              <a:srgbClr val="C41C33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812" marR="0" lvl="0" indent="-180812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399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 Boo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3614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rge Text (Grey, plain)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5925" y="211874"/>
            <a:ext cx="8050016" cy="576000"/>
          </a:xfrm>
          <a:prstGeom prst="rect">
            <a:avLst/>
          </a:prstGeom>
        </p:spPr>
        <p:txBody>
          <a:bodyPr lIns="34290" tIns="17145" rIns="34290" bIns="17145" anchor="b"/>
          <a:lstStyle>
            <a:lvl1pPr>
              <a:defRPr sz="1998" b="0" baseline="0">
                <a:solidFill>
                  <a:schemeClr val="bg1"/>
                </a:solidFill>
                <a:latin typeface="+mj-lt"/>
                <a:ea typeface="Fira Sans Medium" panose="020B0603050000020004" pitchFamily="34" charset="0"/>
              </a:defRPr>
            </a:lvl1pPr>
          </a:lstStyle>
          <a:p>
            <a:r>
              <a:rPr lang="en-US" noProof="0"/>
              <a:t>Title / </a:t>
            </a:r>
            <a:r>
              <a:rPr lang="en-US" noProof="0" err="1"/>
              <a:t>Subline</a:t>
            </a:r>
            <a:r>
              <a:rPr lang="en-US" noProof="0"/>
              <a:t> (Optional)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15925" y="1034416"/>
            <a:ext cx="8050016" cy="3513773"/>
          </a:xfrm>
          <a:prstGeom prst="rect">
            <a:avLst/>
          </a:prstGeom>
        </p:spPr>
        <p:txBody>
          <a:bodyPr lIns="34290" tIns="18001" rIns="34290" bIns="17145"/>
          <a:lstStyle>
            <a:lvl1pPr marL="342591" indent="-342591">
              <a:buFont typeface="Arial" panose="020B0604020202020204" pitchFamily="34" charset="0"/>
              <a:buChar char="•"/>
              <a:defRPr sz="1998">
                <a:solidFill>
                  <a:schemeClr val="accent1"/>
                </a:solidFill>
                <a:latin typeface="Fira Sans Book" panose="020B0503050000020004" pitchFamily="34" charset="0"/>
                <a:ea typeface="Fira Sans Book" panose="020B0503050000020004" pitchFamily="34" charset="0"/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525979" y="4635500"/>
            <a:ext cx="428170" cy="397639"/>
            <a:chOff x="1012825" y="-171450"/>
            <a:chExt cx="8281988" cy="7691438"/>
          </a:xfrm>
          <a:solidFill>
            <a:schemeClr val="bg1"/>
          </a:solidFill>
        </p:grpSpPr>
        <p:sp>
          <p:nvSpPr>
            <p:cNvPr id="10" name="Freeform 1"/>
            <p:cNvSpPr>
              <a:spLocks noChangeArrowheads="1"/>
            </p:cNvSpPr>
            <p:nvPr/>
          </p:nvSpPr>
          <p:spPr bwMode="auto">
            <a:xfrm>
              <a:off x="1012825" y="6380163"/>
              <a:ext cx="2289175" cy="1139825"/>
            </a:xfrm>
            <a:custGeom>
              <a:avLst/>
              <a:gdLst>
                <a:gd name="T0" fmla="*/ 6358 w 6359"/>
                <a:gd name="T1" fmla="*/ 0 h 3166"/>
                <a:gd name="T2" fmla="*/ 3193 w 6359"/>
                <a:gd name="T3" fmla="*/ 3165 h 3166"/>
                <a:gd name="T4" fmla="*/ 0 w 6359"/>
                <a:gd name="T5" fmla="*/ 0 h 3166"/>
                <a:gd name="T6" fmla="*/ 6358 w 6359"/>
                <a:gd name="T7" fmla="*/ 0 h 3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59" h="3166">
                  <a:moveTo>
                    <a:pt x="6358" y="0"/>
                  </a:moveTo>
                  <a:lnTo>
                    <a:pt x="3193" y="3165"/>
                  </a:lnTo>
                  <a:lnTo>
                    <a:pt x="0" y="0"/>
                  </a:lnTo>
                  <a:lnTo>
                    <a:pt x="6358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99">
                <a:solidFill>
                  <a:srgbClr val="000000"/>
                </a:solidFill>
              </a:endParaRPr>
            </a:p>
          </p:txBody>
        </p:sp>
        <p:sp>
          <p:nvSpPr>
            <p:cNvPr id="11" name="Freeform 2"/>
            <p:cNvSpPr>
              <a:spLocks noChangeArrowheads="1"/>
            </p:cNvSpPr>
            <p:nvPr/>
          </p:nvSpPr>
          <p:spPr bwMode="auto">
            <a:xfrm>
              <a:off x="1308100" y="-171450"/>
              <a:ext cx="7986713" cy="6551613"/>
            </a:xfrm>
            <a:custGeom>
              <a:avLst/>
              <a:gdLst>
                <a:gd name="T0" fmla="*/ 10174 w 22185"/>
                <a:gd name="T1" fmla="*/ 10993 h 18201"/>
                <a:gd name="T2" fmla="*/ 10174 w 22185"/>
                <a:gd name="T3" fmla="*/ 10993 h 18201"/>
                <a:gd name="T4" fmla="*/ 9948 w 22185"/>
                <a:gd name="T5" fmla="*/ 9383 h 18201"/>
                <a:gd name="T6" fmla="*/ 11530 w 22185"/>
                <a:gd name="T7" fmla="*/ 9637 h 18201"/>
                <a:gd name="T8" fmla="*/ 10174 w 22185"/>
                <a:gd name="T9" fmla="*/ 10993 h 18201"/>
                <a:gd name="T10" fmla="*/ 16956 w 22185"/>
                <a:gd name="T11" fmla="*/ 2374 h 18201"/>
                <a:gd name="T12" fmla="*/ 16956 w 22185"/>
                <a:gd name="T13" fmla="*/ 2374 h 18201"/>
                <a:gd name="T14" fmla="*/ 18511 w 22185"/>
                <a:gd name="T15" fmla="*/ 2657 h 18201"/>
                <a:gd name="T16" fmla="*/ 17182 w 22185"/>
                <a:gd name="T17" fmla="*/ 3985 h 18201"/>
                <a:gd name="T18" fmla="*/ 16956 w 22185"/>
                <a:gd name="T19" fmla="*/ 2374 h 18201"/>
                <a:gd name="T20" fmla="*/ 21054 w 22185"/>
                <a:gd name="T21" fmla="*/ 3758 h 18201"/>
                <a:gd name="T22" fmla="*/ 21054 w 22185"/>
                <a:gd name="T23" fmla="*/ 3758 h 18201"/>
                <a:gd name="T24" fmla="*/ 18256 w 22185"/>
                <a:gd name="T25" fmla="*/ 5059 h 18201"/>
                <a:gd name="T26" fmla="*/ 21082 w 22185"/>
                <a:gd name="T27" fmla="*/ 2205 h 18201"/>
                <a:gd name="T28" fmla="*/ 20488 w 22185"/>
                <a:gd name="T29" fmla="*/ 1554 h 18201"/>
                <a:gd name="T30" fmla="*/ 15882 w 22185"/>
                <a:gd name="T31" fmla="*/ 1356 h 18201"/>
                <a:gd name="T32" fmla="*/ 15006 w 22185"/>
                <a:gd name="T33" fmla="*/ 4268 h 18201"/>
                <a:gd name="T34" fmla="*/ 14102 w 22185"/>
                <a:gd name="T35" fmla="*/ 3250 h 18201"/>
                <a:gd name="T36" fmla="*/ 13565 w 22185"/>
                <a:gd name="T37" fmla="*/ 5822 h 18201"/>
                <a:gd name="T38" fmla="*/ 12547 w 22185"/>
                <a:gd name="T39" fmla="*/ 4974 h 18201"/>
                <a:gd name="T40" fmla="*/ 11191 w 22185"/>
                <a:gd name="T41" fmla="*/ 6303 h 18201"/>
                <a:gd name="T42" fmla="*/ 13027 w 22185"/>
                <a:gd name="T43" fmla="*/ 8139 h 18201"/>
                <a:gd name="T44" fmla="*/ 8874 w 22185"/>
                <a:gd name="T45" fmla="*/ 8365 h 18201"/>
                <a:gd name="T46" fmla="*/ 8620 w 22185"/>
                <a:gd name="T47" fmla="*/ 12547 h 18201"/>
                <a:gd name="T48" fmla="*/ 8422 w 22185"/>
                <a:gd name="T49" fmla="*/ 12349 h 18201"/>
                <a:gd name="T50" fmla="*/ 5030 w 22185"/>
                <a:gd name="T51" fmla="*/ 12208 h 18201"/>
                <a:gd name="T52" fmla="*/ 4296 w 22185"/>
                <a:gd name="T53" fmla="*/ 13989 h 18201"/>
                <a:gd name="T54" fmla="*/ 1498 w 22185"/>
                <a:gd name="T55" fmla="*/ 11191 h 18201"/>
                <a:gd name="T56" fmla="*/ 0 w 22185"/>
                <a:gd name="T57" fmla="*/ 12688 h 18201"/>
                <a:gd name="T58" fmla="*/ 5539 w 22185"/>
                <a:gd name="T59" fmla="*/ 18200 h 18201"/>
                <a:gd name="T60" fmla="*/ 8507 w 22185"/>
                <a:gd name="T61" fmla="*/ 18200 h 18201"/>
                <a:gd name="T62" fmla="*/ 6500 w 22185"/>
                <a:gd name="T63" fmla="*/ 16222 h 18201"/>
                <a:gd name="T64" fmla="*/ 5964 w 22185"/>
                <a:gd name="T65" fmla="*/ 14074 h 18201"/>
                <a:gd name="T66" fmla="*/ 8026 w 22185"/>
                <a:gd name="T67" fmla="*/ 14893 h 18201"/>
                <a:gd name="T68" fmla="*/ 9976 w 22185"/>
                <a:gd name="T69" fmla="*/ 16871 h 18201"/>
                <a:gd name="T70" fmla="*/ 11473 w 22185"/>
                <a:gd name="T71" fmla="*/ 15373 h 18201"/>
                <a:gd name="T72" fmla="*/ 9609 w 22185"/>
                <a:gd name="T73" fmla="*/ 13509 h 18201"/>
                <a:gd name="T74" fmla="*/ 13989 w 22185"/>
                <a:gd name="T75" fmla="*/ 13141 h 18201"/>
                <a:gd name="T76" fmla="*/ 14017 w 22185"/>
                <a:gd name="T77" fmla="*/ 13113 h 18201"/>
                <a:gd name="T78" fmla="*/ 14017 w 22185"/>
                <a:gd name="T79" fmla="*/ 13113 h 18201"/>
                <a:gd name="T80" fmla="*/ 15175 w 22185"/>
                <a:gd name="T81" fmla="*/ 11530 h 18201"/>
                <a:gd name="T82" fmla="*/ 14045 w 22185"/>
                <a:gd name="T83" fmla="*/ 10768 h 18201"/>
                <a:gd name="T84" fmla="*/ 11247 w 22185"/>
                <a:gd name="T85" fmla="*/ 12067 h 18201"/>
                <a:gd name="T86" fmla="*/ 14073 w 22185"/>
                <a:gd name="T87" fmla="*/ 9214 h 18201"/>
                <a:gd name="T88" fmla="*/ 15854 w 22185"/>
                <a:gd name="T89" fmla="*/ 10993 h 18201"/>
                <a:gd name="T90" fmla="*/ 17408 w 22185"/>
                <a:gd name="T91" fmla="*/ 9440 h 18201"/>
                <a:gd name="T92" fmla="*/ 15203 w 22185"/>
                <a:gd name="T93" fmla="*/ 7207 h 18201"/>
                <a:gd name="T94" fmla="*/ 15203 w 22185"/>
                <a:gd name="T95" fmla="*/ 4833 h 18201"/>
                <a:gd name="T96" fmla="*/ 16080 w 22185"/>
                <a:gd name="T97" fmla="*/ 6048 h 18201"/>
                <a:gd name="T98" fmla="*/ 20998 w 22185"/>
                <a:gd name="T99" fmla="*/ 6161 h 18201"/>
                <a:gd name="T100" fmla="*/ 21026 w 22185"/>
                <a:gd name="T101" fmla="*/ 6133 h 18201"/>
                <a:gd name="T102" fmla="*/ 21026 w 22185"/>
                <a:gd name="T103" fmla="*/ 6133 h 18201"/>
                <a:gd name="T104" fmla="*/ 22184 w 22185"/>
                <a:gd name="T105" fmla="*/ 4522 h 18201"/>
                <a:gd name="T106" fmla="*/ 21054 w 22185"/>
                <a:gd name="T107" fmla="*/ 3758 h 18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85" h="18201">
                  <a:moveTo>
                    <a:pt x="10174" y="10993"/>
                  </a:moveTo>
                  <a:lnTo>
                    <a:pt x="10174" y="10993"/>
                  </a:lnTo>
                  <a:cubicBezTo>
                    <a:pt x="9496" y="10231"/>
                    <a:pt x="9524" y="9807"/>
                    <a:pt x="9948" y="9383"/>
                  </a:cubicBezTo>
                  <a:cubicBezTo>
                    <a:pt x="10456" y="8875"/>
                    <a:pt x="10937" y="9101"/>
                    <a:pt x="11530" y="9637"/>
                  </a:cubicBezTo>
                  <a:lnTo>
                    <a:pt x="10174" y="10993"/>
                  </a:lnTo>
                  <a:close/>
                  <a:moveTo>
                    <a:pt x="16956" y="2374"/>
                  </a:moveTo>
                  <a:lnTo>
                    <a:pt x="16956" y="2374"/>
                  </a:lnTo>
                  <a:cubicBezTo>
                    <a:pt x="17464" y="1894"/>
                    <a:pt x="17945" y="2092"/>
                    <a:pt x="18511" y="2657"/>
                  </a:cubicBezTo>
                  <a:cubicBezTo>
                    <a:pt x="17182" y="3985"/>
                    <a:pt x="17182" y="3985"/>
                    <a:pt x="17182" y="3985"/>
                  </a:cubicBezTo>
                  <a:cubicBezTo>
                    <a:pt x="16504" y="3222"/>
                    <a:pt x="16532" y="2798"/>
                    <a:pt x="16956" y="2374"/>
                  </a:cubicBezTo>
                  <a:close/>
                  <a:moveTo>
                    <a:pt x="21054" y="3758"/>
                  </a:moveTo>
                  <a:lnTo>
                    <a:pt x="21054" y="3758"/>
                  </a:lnTo>
                  <a:cubicBezTo>
                    <a:pt x="20432" y="4692"/>
                    <a:pt x="19358" y="6189"/>
                    <a:pt x="18256" y="5059"/>
                  </a:cubicBezTo>
                  <a:cubicBezTo>
                    <a:pt x="21082" y="2205"/>
                    <a:pt x="21082" y="2205"/>
                    <a:pt x="21082" y="2205"/>
                  </a:cubicBezTo>
                  <a:cubicBezTo>
                    <a:pt x="20828" y="1922"/>
                    <a:pt x="20630" y="1696"/>
                    <a:pt x="20488" y="1554"/>
                  </a:cubicBezTo>
                  <a:cubicBezTo>
                    <a:pt x="18963" y="28"/>
                    <a:pt x="17238" y="0"/>
                    <a:pt x="15882" y="1356"/>
                  </a:cubicBezTo>
                  <a:cubicBezTo>
                    <a:pt x="14977" y="2261"/>
                    <a:pt x="14723" y="3278"/>
                    <a:pt x="15006" y="4268"/>
                  </a:cubicBezTo>
                  <a:cubicBezTo>
                    <a:pt x="14102" y="3250"/>
                    <a:pt x="14102" y="3250"/>
                    <a:pt x="14102" y="3250"/>
                  </a:cubicBezTo>
                  <a:cubicBezTo>
                    <a:pt x="13847" y="3391"/>
                    <a:pt x="12745" y="4353"/>
                    <a:pt x="13565" y="5822"/>
                  </a:cubicBezTo>
                  <a:cubicBezTo>
                    <a:pt x="12547" y="4974"/>
                    <a:pt x="12547" y="4974"/>
                    <a:pt x="12547" y="4974"/>
                  </a:cubicBezTo>
                  <a:cubicBezTo>
                    <a:pt x="11191" y="6303"/>
                    <a:pt x="11191" y="6303"/>
                    <a:pt x="11191" y="6303"/>
                  </a:cubicBezTo>
                  <a:cubicBezTo>
                    <a:pt x="13027" y="8139"/>
                    <a:pt x="13027" y="8139"/>
                    <a:pt x="13027" y="8139"/>
                  </a:cubicBezTo>
                  <a:cubicBezTo>
                    <a:pt x="11615" y="7037"/>
                    <a:pt x="10089" y="7122"/>
                    <a:pt x="8874" y="8365"/>
                  </a:cubicBezTo>
                  <a:cubicBezTo>
                    <a:pt x="7546" y="9666"/>
                    <a:pt x="7659" y="11248"/>
                    <a:pt x="8620" y="12547"/>
                  </a:cubicBezTo>
                  <a:cubicBezTo>
                    <a:pt x="8422" y="12349"/>
                    <a:pt x="8422" y="12349"/>
                    <a:pt x="8422" y="12349"/>
                  </a:cubicBezTo>
                  <a:cubicBezTo>
                    <a:pt x="7150" y="11050"/>
                    <a:pt x="5738" y="11502"/>
                    <a:pt x="5030" y="12208"/>
                  </a:cubicBezTo>
                  <a:cubicBezTo>
                    <a:pt x="4494" y="12745"/>
                    <a:pt x="4183" y="13480"/>
                    <a:pt x="4296" y="13989"/>
                  </a:cubicBezTo>
                  <a:cubicBezTo>
                    <a:pt x="1498" y="11191"/>
                    <a:pt x="1498" y="11191"/>
                    <a:pt x="1498" y="11191"/>
                  </a:cubicBezTo>
                  <a:cubicBezTo>
                    <a:pt x="0" y="12688"/>
                    <a:pt x="0" y="12688"/>
                    <a:pt x="0" y="12688"/>
                  </a:cubicBezTo>
                  <a:cubicBezTo>
                    <a:pt x="5539" y="18200"/>
                    <a:pt x="5539" y="18200"/>
                    <a:pt x="5539" y="18200"/>
                  </a:cubicBezTo>
                  <a:cubicBezTo>
                    <a:pt x="8507" y="18200"/>
                    <a:pt x="8507" y="18200"/>
                    <a:pt x="8507" y="18200"/>
                  </a:cubicBezTo>
                  <a:cubicBezTo>
                    <a:pt x="6500" y="16222"/>
                    <a:pt x="6500" y="16222"/>
                    <a:pt x="6500" y="16222"/>
                  </a:cubicBezTo>
                  <a:cubicBezTo>
                    <a:pt x="5454" y="15147"/>
                    <a:pt x="5454" y="14582"/>
                    <a:pt x="5964" y="14074"/>
                  </a:cubicBezTo>
                  <a:cubicBezTo>
                    <a:pt x="6444" y="13593"/>
                    <a:pt x="7009" y="13904"/>
                    <a:pt x="8026" y="14893"/>
                  </a:cubicBezTo>
                  <a:cubicBezTo>
                    <a:pt x="9976" y="16871"/>
                    <a:pt x="9976" y="16871"/>
                    <a:pt x="9976" y="16871"/>
                  </a:cubicBezTo>
                  <a:cubicBezTo>
                    <a:pt x="11473" y="15373"/>
                    <a:pt x="11473" y="15373"/>
                    <a:pt x="11473" y="15373"/>
                  </a:cubicBezTo>
                  <a:cubicBezTo>
                    <a:pt x="9609" y="13509"/>
                    <a:pt x="9609" y="13509"/>
                    <a:pt x="9609" y="13509"/>
                  </a:cubicBezTo>
                  <a:cubicBezTo>
                    <a:pt x="10937" y="14526"/>
                    <a:pt x="12547" y="14582"/>
                    <a:pt x="13989" y="13141"/>
                  </a:cubicBezTo>
                  <a:cubicBezTo>
                    <a:pt x="14017" y="13141"/>
                    <a:pt x="14017" y="13141"/>
                    <a:pt x="14017" y="13113"/>
                  </a:cubicBezTo>
                  <a:lnTo>
                    <a:pt x="14017" y="13113"/>
                  </a:lnTo>
                  <a:cubicBezTo>
                    <a:pt x="14921" y="12321"/>
                    <a:pt x="15175" y="11530"/>
                    <a:pt x="15175" y="11530"/>
                  </a:cubicBezTo>
                  <a:cubicBezTo>
                    <a:pt x="14045" y="10768"/>
                    <a:pt x="14045" y="10768"/>
                    <a:pt x="14045" y="10768"/>
                  </a:cubicBezTo>
                  <a:cubicBezTo>
                    <a:pt x="13424" y="11700"/>
                    <a:pt x="12349" y="13198"/>
                    <a:pt x="11247" y="12067"/>
                  </a:cubicBezTo>
                  <a:cubicBezTo>
                    <a:pt x="14073" y="9214"/>
                    <a:pt x="14073" y="9214"/>
                    <a:pt x="14073" y="9214"/>
                  </a:cubicBezTo>
                  <a:cubicBezTo>
                    <a:pt x="15854" y="10993"/>
                    <a:pt x="15854" y="10993"/>
                    <a:pt x="15854" y="10993"/>
                  </a:cubicBezTo>
                  <a:cubicBezTo>
                    <a:pt x="17408" y="9440"/>
                    <a:pt x="17408" y="9440"/>
                    <a:pt x="17408" y="9440"/>
                  </a:cubicBezTo>
                  <a:cubicBezTo>
                    <a:pt x="15203" y="7207"/>
                    <a:pt x="15203" y="7207"/>
                    <a:pt x="15203" y="7207"/>
                  </a:cubicBezTo>
                  <a:cubicBezTo>
                    <a:pt x="14158" y="6161"/>
                    <a:pt x="14780" y="5200"/>
                    <a:pt x="15203" y="4833"/>
                  </a:cubicBezTo>
                  <a:cubicBezTo>
                    <a:pt x="15401" y="5257"/>
                    <a:pt x="15712" y="5680"/>
                    <a:pt x="16080" y="6048"/>
                  </a:cubicBezTo>
                  <a:cubicBezTo>
                    <a:pt x="17521" y="7489"/>
                    <a:pt x="19386" y="7772"/>
                    <a:pt x="20998" y="6161"/>
                  </a:cubicBezTo>
                  <a:cubicBezTo>
                    <a:pt x="21026" y="6133"/>
                    <a:pt x="21026" y="6133"/>
                    <a:pt x="21026" y="6133"/>
                  </a:cubicBezTo>
                  <a:lnTo>
                    <a:pt x="21026" y="6133"/>
                  </a:lnTo>
                  <a:cubicBezTo>
                    <a:pt x="21930" y="5313"/>
                    <a:pt x="22184" y="4522"/>
                    <a:pt x="22184" y="4522"/>
                  </a:cubicBezTo>
                  <a:lnTo>
                    <a:pt x="21054" y="3758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99">
                <a:solidFill>
                  <a:srgbClr val="000000"/>
                </a:solidFill>
              </a:endParaRPr>
            </a:p>
          </p:txBody>
        </p:sp>
      </p:grpSp>
      <p:sp>
        <p:nvSpPr>
          <p:cNvPr id="7" name="Fußzeilenplatzhalter 4"/>
          <p:cNvSpPr txBox="1">
            <a:spLocks/>
          </p:cNvSpPr>
          <p:nvPr userDrawn="1"/>
        </p:nvSpPr>
        <p:spPr bwMode="gray">
          <a:xfrm>
            <a:off x="543448" y="4846971"/>
            <a:ext cx="5264311" cy="143282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99">
              <a:solidFill>
                <a:srgbClr val="FFFFFF"/>
              </a:solidFill>
            </a:endParaRPr>
          </a:p>
        </p:txBody>
      </p:sp>
      <p:sp>
        <p:nvSpPr>
          <p:cNvPr id="12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506060" y="4841752"/>
            <a:ext cx="2895223" cy="148500"/>
          </a:xfrm>
          <a:prstGeom prst="rect">
            <a:avLst/>
          </a:prstGeom>
        </p:spPr>
        <p:txBody>
          <a:bodyPr vert="horz" lIns="34290" tIns="17145" rIns="34290" bIns="17145" rtlCol="0" anchor="b"/>
          <a:lstStyle>
            <a:lvl1pPr algn="l">
              <a:defRPr sz="799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We are HERE | July 2017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13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257847" y="4841752"/>
            <a:ext cx="256466" cy="148500"/>
          </a:xfrm>
          <a:prstGeom prst="rect">
            <a:avLst/>
          </a:prstGeom>
        </p:spPr>
        <p:txBody>
          <a:bodyPr vert="horz" lIns="34290" tIns="17145" rIns="34290" bIns="17145" rtlCol="0" anchor="b"/>
          <a:lstStyle>
            <a:lvl1pPr algn="l">
              <a:defRPr sz="799">
                <a:solidFill>
                  <a:schemeClr val="bg1"/>
                </a:solidFill>
              </a:defRPr>
            </a:lvl1pPr>
          </a:lstStyle>
          <a:p>
            <a:fld id="{45B6B97E-A3F5-ED44-86CE-D60E52EDB927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14" name="Datumsplatzhalter 14"/>
          <p:cNvSpPr>
            <a:spLocks noGrp="1"/>
          </p:cNvSpPr>
          <p:nvPr>
            <p:ph type="dt" sz="half" idx="2"/>
          </p:nvPr>
        </p:nvSpPr>
        <p:spPr>
          <a:xfrm>
            <a:off x="6111152" y="4841752"/>
            <a:ext cx="2133918" cy="148500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l">
              <a:defRPr sz="799">
                <a:solidFill>
                  <a:schemeClr val="bg1"/>
                </a:solidFill>
              </a:defRPr>
            </a:lvl1pPr>
          </a:lstStyle>
          <a:p>
            <a:pPr algn="r"/>
            <a:r>
              <a:rPr lang="en-US">
                <a:solidFill>
                  <a:srgbClr val="FFFFFF"/>
                </a:solidFill>
              </a:rPr>
              <a:t>© 2017 HERE | Confidential</a:t>
            </a:r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032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14647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39750" y="303498"/>
            <a:ext cx="7704139" cy="8640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39750" y="1357746"/>
            <a:ext cx="7704138" cy="3266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err="1"/>
              <a:t>Textmasterformat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  <a:p>
            <a:pPr lvl="1"/>
            <a:r>
              <a:rPr lang="en-GB" noProof="0" err="1"/>
              <a:t>Zweite</a:t>
            </a:r>
            <a:r>
              <a:rPr lang="en-GB" noProof="0"/>
              <a:t> </a:t>
            </a:r>
            <a:r>
              <a:rPr lang="en-GB" noProof="0" err="1"/>
              <a:t>Ebene</a:t>
            </a:r>
            <a:endParaRPr lang="en-GB" noProof="0"/>
          </a:p>
          <a:p>
            <a:pPr lvl="2"/>
            <a:r>
              <a:rPr lang="en-GB" noProof="0" err="1"/>
              <a:t>Dritte</a:t>
            </a:r>
            <a:r>
              <a:rPr lang="en-GB" noProof="0"/>
              <a:t> </a:t>
            </a:r>
            <a:r>
              <a:rPr lang="en-GB" noProof="0" err="1"/>
              <a:t>Ebene</a:t>
            </a:r>
            <a:endParaRPr lang="en-GB" noProof="0"/>
          </a:p>
          <a:p>
            <a:pPr lvl="3"/>
            <a:r>
              <a:rPr lang="en-GB" noProof="0" err="1"/>
              <a:t>Vierte</a:t>
            </a:r>
            <a:r>
              <a:rPr lang="en-GB" noProof="0"/>
              <a:t> </a:t>
            </a:r>
            <a:r>
              <a:rPr lang="en-GB" noProof="0" err="1"/>
              <a:t>Ebene</a:t>
            </a:r>
            <a:endParaRPr lang="en-GB" noProof="0"/>
          </a:p>
          <a:p>
            <a:pPr lvl="4"/>
            <a:r>
              <a:rPr lang="en-GB" noProof="0" err="1"/>
              <a:t>Fünfte</a:t>
            </a:r>
            <a:r>
              <a:rPr lang="en-GB" noProof="0"/>
              <a:t> </a:t>
            </a:r>
            <a:r>
              <a:rPr lang="en-GB" noProof="0" err="1"/>
              <a:t>Ebene</a:t>
            </a:r>
            <a:endParaRPr lang="en-GB" noProof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1" indent="-180971" algn="ctr" defTabSz="685800">
              <a:buFont typeface="Arial" panose="020B0604020202020204" pitchFamily="34" charset="0"/>
              <a:buChar char="•"/>
            </a:pPr>
            <a:endParaRPr lang="en-GB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855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8" r:id="rId3"/>
    <p:sldLayoutId id="2147484089" r:id="rId4"/>
    <p:sldLayoutId id="2147484091" r:id="rId5"/>
  </p:sldLayoutIdLst>
  <p:transition spd="slow">
    <p:wipe/>
  </p:transition>
  <p:hf sldNum="0" hdr="0" ftr="0" dt="0"/>
  <p:txStyles>
    <p:titleStyle>
      <a:lvl1pPr algn="l" defTabSz="914378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7796" indent="-1777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79" indent="-179384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37" indent="-182558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20" indent="-179384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15" indent="-1777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72">
          <p15:clr>
            <a:srgbClr val="F26B43"/>
          </p15:clr>
        </p15:guide>
        <p15:guide id="2" pos="340">
          <p15:clr>
            <a:srgbClr val="F26B43"/>
          </p15:clr>
        </p15:guide>
        <p15:guide id="3" pos="226">
          <p15:clr>
            <a:srgbClr val="F26B43"/>
          </p15:clr>
        </p15:guide>
        <p15:guide id="4" pos="5193">
          <p15:clr>
            <a:srgbClr val="F26B43"/>
          </p15:clr>
        </p15:guide>
        <p15:guide id="5" orient="horz" pos="2913">
          <p15:clr>
            <a:srgbClr val="F26B43"/>
          </p15:clr>
        </p15:guide>
        <p15:guide id="6" orient="horz" pos="3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37830" y="3791952"/>
            <a:ext cx="4897480" cy="892480"/>
          </a:xfrm>
        </p:spPr>
        <p:txBody>
          <a:bodyPr/>
          <a:lstStyle/>
          <a:p>
            <a:r>
              <a:rPr lang="en-US" dirty="0"/>
              <a:t>Intro to AR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37830" y="4748228"/>
            <a:ext cx="5138217" cy="216434"/>
          </a:xfrm>
        </p:spPr>
        <p:txBody>
          <a:bodyPr/>
          <a:lstStyle/>
          <a:p>
            <a:fld id="{68C923BE-EF56-5447-817F-AF5604FA970B}" type="datetime4">
              <a:rPr lang="en-US" smtClean="0"/>
              <a:t>June 22, 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2257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9574AFA-7822-427B-AF47-3855040DDC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414" y="220530"/>
            <a:ext cx="3567311" cy="18421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396D128-075D-415F-9B7D-41C7395F32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5535" y="189471"/>
            <a:ext cx="3480389" cy="18118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95BAD4-1147-49EF-A3CC-D76E6D13BB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1833" y="2266752"/>
            <a:ext cx="5046920" cy="2649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0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3159D41-4CAC-4852-962A-BD9386A24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9447" y="464530"/>
            <a:ext cx="6248024" cy="4199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54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E409F3D-A48D-447E-AF58-FB80A3ED8C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0084" y="404037"/>
            <a:ext cx="5658323" cy="431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47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7C96AB-D5B9-439F-8253-9EB04E6AEF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8419" y="439479"/>
            <a:ext cx="5007300" cy="4182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53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08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1955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1492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9763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398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18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A31623C0-2A95-4012-924A-FB297D113990}"/>
              </a:ext>
            </a:extLst>
          </p:cNvPr>
          <p:cNvSpPr txBox="1">
            <a:spLocks/>
          </p:cNvSpPr>
          <p:nvPr/>
        </p:nvSpPr>
        <p:spPr bwMode="gray">
          <a:xfrm>
            <a:off x="152400" y="241300"/>
            <a:ext cx="8035925" cy="574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Agenda</a:t>
            </a:r>
            <a:endParaRPr lang="en-US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5F038EA6-32CA-469D-8377-4C8D85F85DAB}"/>
              </a:ext>
            </a:extLst>
          </p:cNvPr>
          <p:cNvSpPr txBox="1">
            <a:spLocks/>
          </p:cNvSpPr>
          <p:nvPr/>
        </p:nvSpPr>
        <p:spPr bwMode="gray">
          <a:xfrm>
            <a:off x="931069" y="1275557"/>
            <a:ext cx="6043611" cy="3434555"/>
          </a:xfrm>
          <a:prstGeom prst="rect">
            <a:avLst/>
          </a:prstGeom>
        </p:spPr>
        <p:txBody>
          <a:bodyPr vert="horz" lIns="34258" tIns="17129" rIns="34258" bIns="17129" rtlCol="0" anchor="t">
            <a:noAutofit/>
          </a:bodyPr>
          <a:lstStyle>
            <a:lvl1pPr marL="177796" indent="-177796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79" indent="-179384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37" indent="-182558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20" indent="-179384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15" indent="-177796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Ø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3B5AC2-6A69-4A50-92EB-9C160560420C}"/>
              </a:ext>
            </a:extLst>
          </p:cNvPr>
          <p:cNvSpPr txBox="1">
            <a:spLocks/>
          </p:cNvSpPr>
          <p:nvPr/>
        </p:nvSpPr>
        <p:spPr>
          <a:xfrm>
            <a:off x="152400" y="152400"/>
            <a:ext cx="0" cy="0"/>
          </a:xfrm>
        </p:spPr>
        <p:txBody>
          <a:bodyPr/>
          <a:lstStyle>
            <a:defPPr>
              <a:defRPr lang="en-US"/>
            </a:defPPr>
            <a:lvl1pPr marL="0" algn="l" defTabSz="337734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7734" algn="l" defTabSz="337734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5467" algn="l" defTabSz="337734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13201" algn="l" defTabSz="337734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935" algn="l" defTabSz="337734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88668" algn="l" defTabSz="337734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26402" algn="l" defTabSz="337734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64135" algn="l" defTabSz="337734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01869" algn="l" defTabSz="337734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6B97E-A3F5-ED44-86CE-D60E52EDB927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D0CBB1-FA63-474B-9D04-058189D2A044}"/>
              </a:ext>
            </a:extLst>
          </p:cNvPr>
          <p:cNvSpPr txBox="1"/>
          <p:nvPr/>
        </p:nvSpPr>
        <p:spPr>
          <a:xfrm>
            <a:off x="931069" y="935665"/>
            <a:ext cx="7397768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What is 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AR Market and Use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Types of 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Web and Mobile based AR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ARA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</a:rPr>
              <a:t>Demo of Marker </a:t>
            </a:r>
            <a:r>
              <a:rPr lang="en-US" sz="1400" dirty="0">
                <a:solidFill>
                  <a:schemeClr val="bg1"/>
                </a:solidFill>
              </a:rPr>
              <a:t>based A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86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063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2311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71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3050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6FC64D87-63DD-42C4-9410-434E74C587A9}"/>
              </a:ext>
            </a:extLst>
          </p:cNvPr>
          <p:cNvSpPr txBox="1"/>
          <p:nvPr/>
        </p:nvSpPr>
        <p:spPr>
          <a:xfrm>
            <a:off x="492332" y="2147066"/>
            <a:ext cx="8533481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defRPr sz="2400">
                <a:solidFill>
                  <a:schemeClr val="bg1"/>
                </a:solidFill>
                <a:latin typeface="Fira Sans Light" panose="020B0403050000020004" pitchFamily="34" charset="0"/>
              </a:defRPr>
            </a:lvl1pPr>
          </a:lstStyle>
          <a:p>
            <a:pPr algn="ctr"/>
            <a:r>
              <a:rPr lang="en-US" b="1" cap="all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7008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F8EED02-A9DE-4CAC-A53F-C5A9A48EC2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431" y="1049077"/>
            <a:ext cx="7162754" cy="3308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94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F86A96-54C0-4B2E-BE4D-DA1DCB34FF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8817" y="295403"/>
            <a:ext cx="6560357" cy="4486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08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5BD4BF0-614B-485B-959C-5E739F3320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8297" y="316391"/>
            <a:ext cx="5351237" cy="4529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423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88B07DE-30CC-45EB-A1F4-506E336419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791" y="397946"/>
            <a:ext cx="3580009" cy="217513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708F311-310F-4BB6-BE93-96EC258CBA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7552" y="1245422"/>
            <a:ext cx="4043695" cy="348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90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62F7F9D-B81D-4D98-B494-26CC3721F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3537" y="481012"/>
            <a:ext cx="5876925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27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A63208-9573-4E6C-ABBA-EB6DAC556C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499" y="262269"/>
            <a:ext cx="8437375" cy="442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92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463D801-EED2-4C92-963F-D643BEC12E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581" y="382772"/>
            <a:ext cx="8307498" cy="393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533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1.89999999999999990000E+000&quot;&gt;&lt;m_msothmcolidx val=&quot;0&quot;/&gt;&lt;m_rgb r=&quot;33&quot; g=&quot;ca&quot; b=&quot;1e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2. Content Slides (Aqua / Grey)">
  <a:themeElements>
    <a:clrScheme name="HERE Colors Green">
      <a:dk1>
        <a:srgbClr val="000000"/>
      </a:dk1>
      <a:lt1>
        <a:srgbClr val="FFFFFF"/>
      </a:lt1>
      <a:dk2>
        <a:srgbClr val="0F1621"/>
      </a:dk2>
      <a:lt2>
        <a:srgbClr val="383C45"/>
      </a:lt2>
      <a:accent1>
        <a:srgbClr val="48DAD0"/>
      </a:accent1>
      <a:accent2>
        <a:srgbClr val="00AFAA"/>
      </a:accent2>
      <a:accent3>
        <a:srgbClr val="383C45"/>
      </a:accent3>
      <a:accent4>
        <a:srgbClr val="70943C"/>
      </a:accent4>
      <a:accent5>
        <a:srgbClr val="FAB800"/>
      </a:accent5>
      <a:accent6>
        <a:srgbClr val="06B87C"/>
      </a:accent6>
      <a:hlink>
        <a:srgbClr val="000000"/>
      </a:hlink>
      <a:folHlink>
        <a:srgbClr val="000000"/>
      </a:folHlink>
    </a:clrScheme>
    <a:fontScheme name="Custom 1">
      <a:majorFont>
        <a:latin typeface="Fira Sans Medium"/>
        <a:ea typeface=""/>
        <a:cs typeface=""/>
      </a:majorFont>
      <a:minorFont>
        <a:latin typeface="Fira Sans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buFont typeface="Arial" panose="020B0604020202020204" pitchFamily="34" charset="0"/>
          <a:buChar char="•"/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ERE-PPT-Master_green_2016JUL" id="{CC72AAA6-5ABC-4521-B945-01511447912A}" vid="{3EB8D242-E416-4F41-99D4-5DFDC71B04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0">
    <wetp:webextensionref xmlns:r="http://schemas.openxmlformats.org/officeDocument/2006/relationships" r:id="rId1"/>
  </wetp:taskpane>
  <wetp:taskpane dockstate="right" visibility="0" width="700" row="0">
    <wetp:webextensionref xmlns:r="http://schemas.openxmlformats.org/officeDocument/2006/relationships" r:id="rId2"/>
  </wetp:taskpane>
  <wetp:taskpane dockstate="right" visibility="0" width="700" row="0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33CEAC4A-EA2D-E14C-A5B4-2F0AC21B0F54}">
  <we:reference id="wa104380169" version="1.1.0.0" store="en-US" storeType="OMEX"/>
  <we:alternateReferences>
    <we:reference id="WA104380169" version="1.1.0.0" store="WA104380169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8DBF6E19-69A7-C345-ABB4-C884DFF122F5}">
  <we:reference id="wa104178141" version="3.1.2.28" store="en-US" storeType="OMEX"/>
  <we:alternateReferences>
    <we:reference id="WA104178141" version="3.1.2.28" store="WA104178141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38855CE1-9307-7B40-9782-C2A11A3B5433}">
  <we:reference id="wa104381063" version="1.0.0.0" store="en-US" storeType="OMEX"/>
  <we:alternateReferences>
    <we:reference id="WA104381063" version="1.0.0.0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AC522E4C8EDE4C97329114F2A2A625" ma:contentTypeVersion="8" ma:contentTypeDescription="Create a new document." ma:contentTypeScope="" ma:versionID="4a0e76630605a4e45ab6da6dfbc113cb">
  <xsd:schema xmlns:xsd="http://www.w3.org/2001/XMLSchema" xmlns:xs="http://www.w3.org/2001/XMLSchema" xmlns:p="http://schemas.microsoft.com/office/2006/metadata/properties" xmlns:ns2="4c21c85e-520c-40b3-a696-561972fbb10e" xmlns:ns3="4125e77e-023b-4ba0-a093-7684e9fd1736" targetNamespace="http://schemas.microsoft.com/office/2006/metadata/properties" ma:root="true" ma:fieldsID="c2c8d55f1d58df1abafd2f078cc5b8df" ns2:_="" ns3:_="">
    <xsd:import namespace="4c21c85e-520c-40b3-a696-561972fbb10e"/>
    <xsd:import namespace="4125e77e-023b-4ba0-a093-7684e9fd17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21c85e-520c-40b3-a696-561972fbb1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25e77e-023b-4ba0-a093-7684e9fd173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FB540B-92FA-4B7D-ABDF-EC812856811B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4125e77e-023b-4ba0-a093-7684e9fd1736"/>
    <ds:schemaRef ds:uri="4c21c85e-520c-40b3-a696-561972fbb10e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87C89AF-C0DB-4280-9CAA-722535BF3F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21c85e-520c-40b3-a696-561972fbb10e"/>
    <ds:schemaRef ds:uri="4125e77e-023b-4ba0-a093-7684e9fd17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D0FE7D7-0DFB-4E01-A0A6-B1A85A2E6F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7</TotalTime>
  <Words>32</Words>
  <Application>Microsoft Office PowerPoint</Application>
  <PresentationFormat>On-screen Show (16:9)</PresentationFormat>
  <Paragraphs>17</Paragraphs>
  <Slides>2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Fira Sans Book</vt:lpstr>
      <vt:lpstr>Fira Sans Light</vt:lpstr>
      <vt:lpstr>Fira Sans Medium</vt:lpstr>
      <vt:lpstr>Nokia Pure Headline</vt:lpstr>
      <vt:lpstr>Wingdings</vt:lpstr>
      <vt:lpstr>02. Content Slides (Aqua / Grey)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gh, Sukrut</dc:creator>
  <cp:lastModifiedBy>Wagh, Sukrut</cp:lastModifiedBy>
  <cp:revision>66</cp:revision>
  <dcterms:modified xsi:type="dcterms:W3CDTF">2018-06-22T06:5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AC522E4C8EDE4C97329114F2A2A625</vt:lpwstr>
  </property>
</Properties>
</file>